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68" r:id="rId5"/>
    <p:sldMasterId id="2147483815" r:id="rId6"/>
    <p:sldMasterId id="2147483828" r:id="rId7"/>
  </p:sldMasterIdLst>
  <p:notesMasterIdLst>
    <p:notesMasterId r:id="rId15"/>
  </p:notesMasterIdLst>
  <p:sldIdLst>
    <p:sldId id="257" r:id="rId8"/>
    <p:sldId id="262" r:id="rId9"/>
    <p:sldId id="266" r:id="rId10"/>
    <p:sldId id="267" r:id="rId11"/>
    <p:sldId id="271" r:id="rId12"/>
    <p:sldId id="295" r:id="rId13"/>
    <p:sldId id="1276" r:id="rId14"/>
  </p:sldIdLst>
  <p:sldSz cx="12192000" cy="6858000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ttoo, Divia" initials="MD" lastIdx="1" clrIdx="6">
    <p:extLst>
      <p:ext uri="{19B8F6BF-5375-455C-9EA6-DF929625EA0E}">
        <p15:presenceInfo xmlns:p15="http://schemas.microsoft.com/office/powerpoint/2012/main" userId="S-1-5-21-83642069-1626958306-390482200-658265" providerId="AD"/>
      </p:ext>
    </p:extLst>
  </p:cmAuthor>
  <p:cmAuthor id="1" name="Clemence Debaig" initials="" lastIdx="2" clrIdx="0"/>
  <p:cmAuthor id="2" name="Yasmin Nobbs" initials="YN" lastIdx="39" clrIdx="1">
    <p:extLst>
      <p:ext uri="{19B8F6BF-5375-455C-9EA6-DF929625EA0E}">
        <p15:presenceInfo xmlns:p15="http://schemas.microsoft.com/office/powerpoint/2012/main" userId="S::yasmin.nobbs@digitalpolice.co.uk::f7d59673-44d1-414f-89dc-5b7e5d63e067" providerId="AD"/>
      </p:ext>
    </p:extLst>
  </p:cmAuthor>
  <p:cmAuthor id="3" name="lisa ronsholt" initials="lr" lastIdx="6" clrIdx="2">
    <p:extLst>
      <p:ext uri="{19B8F6BF-5375-455C-9EA6-DF929625EA0E}">
        <p15:presenceInfo xmlns:p15="http://schemas.microsoft.com/office/powerpoint/2012/main" userId="S::lisa.ronsholt@digitalpolice.co.uk::dd625e74-0634-4df3-884d-014260f2bc32" providerId="AD"/>
      </p:ext>
    </p:extLst>
  </p:cmAuthor>
  <p:cmAuthor id="4" name="Geraint Jones" initials="GJ" lastIdx="8" clrIdx="3">
    <p:extLst>
      <p:ext uri="{19B8F6BF-5375-455C-9EA6-DF929625EA0E}">
        <p15:presenceInfo xmlns:p15="http://schemas.microsoft.com/office/powerpoint/2012/main" userId="S::geraint.jones@digitalpolice.co.uk::42894a1c-f14b-4c91-b615-60d88e6e8ef5" providerId="AD"/>
      </p:ext>
    </p:extLst>
  </p:cmAuthor>
  <p:cmAuthor id="5" name="Ronsholt Lisa 38516" initials="RL3" lastIdx="6" clrIdx="4">
    <p:extLst>
      <p:ext uri="{19B8F6BF-5375-455C-9EA6-DF929625EA0E}">
        <p15:presenceInfo xmlns:p15="http://schemas.microsoft.com/office/powerpoint/2012/main" userId="Ronsholt Lisa 38516" providerId="None"/>
      </p:ext>
    </p:extLst>
  </p:cmAuthor>
  <p:cmAuthor id="6" name="Neville, Patsy" initials="NP" lastIdx="23" clrIdx="5">
    <p:extLst>
      <p:ext uri="{19B8F6BF-5375-455C-9EA6-DF929625EA0E}">
        <p15:presenceInfo xmlns:p15="http://schemas.microsoft.com/office/powerpoint/2012/main" userId="S-1-5-21-83642069-1626958306-390482200-6703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DBE9F6"/>
    <a:srgbClr val="5BB4DD"/>
    <a:srgbClr val="0097A9"/>
    <a:srgbClr val="D0CECE"/>
    <a:srgbClr val="3C78E2"/>
    <a:srgbClr val="85B6D7"/>
    <a:srgbClr val="007AA8"/>
    <a:srgbClr val="2256AA"/>
    <a:srgbClr val="3C7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196"/>
    <p:restoredTop sz="94731"/>
  </p:normalViewPr>
  <p:slideViewPr>
    <p:cSldViewPr snapToGrid="0">
      <p:cViewPr varScale="1">
        <p:scale>
          <a:sx n="60" d="100"/>
          <a:sy n="60" d="100"/>
        </p:scale>
        <p:origin x="97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n Cooper DCC" userId="33561014-4ae7-4e2e-9c0b-a201f5043372" providerId="ADAL" clId="{C2D046FB-C83E-45A9-A21B-A563B01339EA}"/>
    <pc:docChg chg="delSld modSld">
      <pc:chgData name="Steven Cooper DCC" userId="33561014-4ae7-4e2e-9c0b-a201f5043372" providerId="ADAL" clId="{C2D046FB-C83E-45A9-A21B-A563B01339EA}" dt="2022-11-03T16:08:29.882" v="5" actId="47"/>
      <pc:docMkLst>
        <pc:docMk/>
      </pc:docMkLst>
      <pc:sldChg chg="modSp mod">
        <pc:chgData name="Steven Cooper DCC" userId="33561014-4ae7-4e2e-9c0b-a201f5043372" providerId="ADAL" clId="{C2D046FB-C83E-45A9-A21B-A563B01339EA}" dt="2022-11-03T16:07:43.119" v="3" actId="20577"/>
        <pc:sldMkLst>
          <pc:docMk/>
          <pc:sldMk cId="0" sldId="262"/>
        </pc:sldMkLst>
        <pc:spChg chg="mod">
          <ac:chgData name="Steven Cooper DCC" userId="33561014-4ae7-4e2e-9c0b-a201f5043372" providerId="ADAL" clId="{C2D046FB-C83E-45A9-A21B-A563B01339EA}" dt="2022-11-03T16:07:43.119" v="3" actId="20577"/>
          <ac:spMkLst>
            <pc:docMk/>
            <pc:sldMk cId="0" sldId="262"/>
            <ac:spMk id="185" creationId="{00000000-0000-0000-0000-000000000000}"/>
          </ac:spMkLst>
        </pc:spChg>
      </pc:sldChg>
      <pc:sldChg chg="del">
        <pc:chgData name="Steven Cooper DCC" userId="33561014-4ae7-4e2e-9c0b-a201f5043372" providerId="ADAL" clId="{C2D046FB-C83E-45A9-A21B-A563B01339EA}" dt="2022-11-03T16:08:20.726" v="4" actId="47"/>
        <pc:sldMkLst>
          <pc:docMk/>
          <pc:sldMk cId="0" sldId="263"/>
        </pc:sldMkLst>
      </pc:sldChg>
      <pc:sldChg chg="del">
        <pc:chgData name="Steven Cooper DCC" userId="33561014-4ae7-4e2e-9c0b-a201f5043372" providerId="ADAL" clId="{C2D046FB-C83E-45A9-A21B-A563B01339EA}" dt="2022-11-03T16:08:29.882" v="5" actId="47"/>
        <pc:sldMkLst>
          <pc:docMk/>
          <pc:sldMk cId="361313386" sldId="1275"/>
        </pc:sldMkLst>
      </pc:sldChg>
    </pc:docChg>
  </pc:docChgLst>
  <pc:docChgLst>
    <pc:chgData name="Steven Cooper DCC" userId="33561014-4ae7-4e2e-9c0b-a201f5043372" providerId="ADAL" clId="{6A65B432-A3B1-4F6B-830C-31BB711479AA}"/>
    <pc:docChg chg="addSld modSld">
      <pc:chgData name="Steven Cooper DCC" userId="33561014-4ae7-4e2e-9c0b-a201f5043372" providerId="ADAL" clId="{6A65B432-A3B1-4F6B-830C-31BB711479AA}" dt="2022-09-02T08:50:37.681" v="12" actId="122"/>
      <pc:docMkLst>
        <pc:docMk/>
      </pc:docMkLst>
      <pc:sldChg chg="addSp modSp new mod">
        <pc:chgData name="Steven Cooper DCC" userId="33561014-4ae7-4e2e-9c0b-a201f5043372" providerId="ADAL" clId="{6A65B432-A3B1-4F6B-830C-31BB711479AA}" dt="2022-09-02T08:50:37.681" v="12" actId="122"/>
        <pc:sldMkLst>
          <pc:docMk/>
          <pc:sldMk cId="391176046" sldId="1276"/>
        </pc:sldMkLst>
        <pc:spChg chg="mod">
          <ac:chgData name="Steven Cooper DCC" userId="33561014-4ae7-4e2e-9c0b-a201f5043372" providerId="ADAL" clId="{6A65B432-A3B1-4F6B-830C-31BB711479AA}" dt="2022-09-02T08:50:37.681" v="12" actId="122"/>
          <ac:spMkLst>
            <pc:docMk/>
            <pc:sldMk cId="391176046" sldId="1276"/>
            <ac:spMk id="2" creationId="{11337804-A542-4312-A1C4-5634B3EAC455}"/>
          </ac:spMkLst>
        </pc:spChg>
        <pc:picChg chg="add mod">
          <ac:chgData name="Steven Cooper DCC" userId="33561014-4ae7-4e2e-9c0b-a201f5043372" providerId="ADAL" clId="{6A65B432-A3B1-4F6B-830C-31BB711479AA}" dt="2022-09-02T08:50:36.062" v="11" actId="1076"/>
          <ac:picMkLst>
            <pc:docMk/>
            <pc:sldMk cId="391176046" sldId="1276"/>
            <ac:picMk id="7" creationId="{7AB5000D-9D88-4136-84B1-03E2725AAAA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>
              <a:defRPr sz="1200"/>
            </a:lvl1pPr>
          </a:lstStyle>
          <a:p>
            <a:fld id="{897A8E2D-1A55-4C9B-B497-A183EF2A0222}" type="datetimeFigureOut">
              <a:rPr lang="en-GB" smtClean="0"/>
              <a:t>03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9"/>
          </a:xfrm>
          <a:prstGeom prst="rect">
            <a:avLst/>
          </a:prstGeom>
        </p:spPr>
        <p:txBody>
          <a:bodyPr vert="horz" lIns="94759" tIns="47380" rIns="94759" bIns="4738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3507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>
              <a:defRPr sz="1200"/>
            </a:lvl1pPr>
          </a:lstStyle>
          <a:p>
            <a:fld id="{D9C67D91-FCB3-4CE8-8B1C-3441465036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9439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8" name="Google Shape;10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gc8cb26b754_0_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70" name="Google Shape;170;gc8cb26b754_0_1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Google Shape;297;gc8cb26b754_0_1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98" name="Google Shape;298;gc8cb26b754_0_1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gc8f01afe22_0_1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5" name="Google Shape;325;gc8f01afe22_0_14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Google Shape;431;gc8f01afe22_0_30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2" name="Google Shape;432;gc8f01afe22_0_30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433" name="Google Shape;433;gc8f01afe22_0_30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GB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sz="12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Google Shape;707;gc9635784e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8" name="Google Shape;708;gc9635784e9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Calibri"/>
              <a:buNone/>
            </a:pPr>
            <a:endParaRPr dirty="0">
              <a:solidFill>
                <a:schemeClr val="dk1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C67D91-FCB3-4CE8-8B1C-34414650363E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7354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2.jp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2.jp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3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6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tif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32946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46899" y="2259912"/>
            <a:ext cx="4508803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5" name="Shape 202"/>
          <p:cNvCxnSpPr/>
          <p:nvPr userDrawn="1"/>
        </p:nvCxnSpPr>
        <p:spPr>
          <a:xfrm>
            <a:off x="1646900" y="3927150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2770026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screen 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11"/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776228-6BCF-4E40-87E9-01E32C93FD08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cxnSp>
        <p:nvCxnSpPr>
          <p:cNvPr id="9" name="Shape 202"/>
          <p:cNvCxnSpPr/>
          <p:nvPr userDrawn="1"/>
        </p:nvCxnSpPr>
        <p:spPr>
          <a:xfrm>
            <a:off x="748688" y="3927150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48688" y="2259913"/>
            <a:ext cx="4473761" cy="1325563"/>
          </a:xfrm>
        </p:spPr>
        <p:txBody>
          <a:bodyPr>
            <a:normAutofit/>
          </a:bodyPr>
          <a:lstStyle>
            <a:lvl1pPr>
              <a:defRPr sz="4000">
                <a:latin typeface="Calibri 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2440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temp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6" name="Shape 231"/>
          <p:cNvCxnSpPr/>
          <p:nvPr userDrawn="1"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90799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templa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3601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screen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410325" y="195121"/>
            <a:ext cx="5542863" cy="4803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410325" y="885464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tro tex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410325" y="1479985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ey line</a:t>
            </a:r>
          </a:p>
          <a:p>
            <a:pPr lvl="1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224817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screen thre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6093600" y="0"/>
            <a:ext cx="6098400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 userDrawn="1"/>
        </p:nvSpPr>
        <p:spPr>
          <a:xfrm>
            <a:off x="6093600" y="2286000"/>
            <a:ext cx="6098400" cy="2286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r>
              <a:rPr lang="en-GB">
                <a:solidFill>
                  <a:srgbClr val="1F5F96"/>
                </a:solidFill>
                <a:latin typeface="Arial" panose="020B0604020202020204" pitchFamily="34" charset="0"/>
              </a:rPr>
              <a:t>cv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5" name="Shape 211"/>
          <p:cNvSpPr/>
          <p:nvPr userDrawn="1"/>
        </p:nvSpPr>
        <p:spPr>
          <a:xfrm>
            <a:off x="6093600" y="4572000"/>
            <a:ext cx="6098400" cy="228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07114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screen two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 userDrawn="1"/>
        </p:nvSpPr>
        <p:spPr>
          <a:xfrm>
            <a:off x="6093600" y="0"/>
            <a:ext cx="6098400" cy="34308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r>
              <a:rPr lang="en-GB">
                <a:solidFill>
                  <a:srgbClr val="1F5F96"/>
                </a:solidFill>
                <a:latin typeface="Arial" panose="020B0604020202020204" pitchFamily="34" charset="0"/>
              </a:rPr>
              <a:t>cv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5" name="Shape 211"/>
          <p:cNvSpPr/>
          <p:nvPr userDrawn="1"/>
        </p:nvSpPr>
        <p:spPr>
          <a:xfrm>
            <a:off x="6093600" y="3427200"/>
            <a:ext cx="6098400" cy="343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47366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graphic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0" y="718470"/>
            <a:ext cx="12192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sp>
        <p:nvSpPr>
          <p:cNvPr id="7" name="Shape 258"/>
          <p:cNvSpPr>
            <a:spLocks noChangeAspect="1"/>
          </p:cNvSpPr>
          <p:nvPr userDrawn="1"/>
        </p:nvSpPr>
        <p:spPr>
          <a:xfrm>
            <a:off x="604580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8" name="Shape 258"/>
          <p:cNvSpPr>
            <a:spLocks noChangeAspect="1"/>
          </p:cNvSpPr>
          <p:nvPr userDrawn="1"/>
        </p:nvSpPr>
        <p:spPr>
          <a:xfrm>
            <a:off x="2892726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9" name="Shape 258"/>
          <p:cNvSpPr>
            <a:spLocks noChangeAspect="1"/>
          </p:cNvSpPr>
          <p:nvPr userDrawn="1"/>
        </p:nvSpPr>
        <p:spPr>
          <a:xfrm>
            <a:off x="5180872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0" name="Shape 258"/>
          <p:cNvSpPr>
            <a:spLocks noChangeAspect="1"/>
          </p:cNvSpPr>
          <p:nvPr userDrawn="1"/>
        </p:nvSpPr>
        <p:spPr>
          <a:xfrm>
            <a:off x="7469018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1" name="Shape 258"/>
          <p:cNvSpPr>
            <a:spLocks noChangeAspect="1"/>
          </p:cNvSpPr>
          <p:nvPr userDrawn="1"/>
        </p:nvSpPr>
        <p:spPr>
          <a:xfrm>
            <a:off x="9757164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358657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2646803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934949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223095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9511241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08459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anel split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211"/>
          <p:cNvSpPr/>
          <p:nvPr userDrawn="1"/>
        </p:nvSpPr>
        <p:spPr>
          <a:xfrm>
            <a:off x="0" y="718470"/>
            <a:ext cx="4068000" cy="61395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9" name="Shape 211"/>
          <p:cNvSpPr/>
          <p:nvPr userDrawn="1"/>
        </p:nvSpPr>
        <p:spPr>
          <a:xfrm>
            <a:off x="4064400" y="718470"/>
            <a:ext cx="4068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0" name="Shape 211"/>
          <p:cNvSpPr/>
          <p:nvPr userDrawn="1"/>
        </p:nvSpPr>
        <p:spPr>
          <a:xfrm>
            <a:off x="8133735" y="718470"/>
            <a:ext cx="4068000" cy="6139529"/>
          </a:xfrm>
          <a:prstGeom prst="rect">
            <a:avLst/>
          </a:prstGeom>
          <a:solidFill>
            <a:srgbClr val="003C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/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7" name="Shape 231"/>
          <p:cNvCxnSpPr/>
          <p:nvPr userDrawn="1"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76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5520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621404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6168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PP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552014" y="220492"/>
            <a:ext cx="1427038" cy="79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883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" name="Google Shape;45;p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" name="Google Shape;47;p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72518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PC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014" y="226986"/>
            <a:ext cx="1460440" cy="56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33830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I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658" y="248072"/>
            <a:ext cx="197980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0518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F brande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07" y="242131"/>
            <a:ext cx="1217785" cy="58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878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hape 475"/>
          <p:cNvSpPr txBox="1"/>
          <p:nvPr userDrawn="1"/>
        </p:nvSpPr>
        <p:spPr>
          <a:xfrm>
            <a:off x="762000" y="2427540"/>
            <a:ext cx="5532300" cy="10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eaLnBrk="0" fontAlgn="base" hangingPunct="0">
              <a:spcAft>
                <a:spcPts val="1000"/>
              </a:spcAft>
            </a:pPr>
            <a:r>
              <a:rPr lang="en" sz="4000" b="1">
                <a:solidFill>
                  <a:srgbClr val="FFFFFF"/>
                </a:solidFill>
                <a:ea typeface="Calibri"/>
                <a:cs typeface="Calibri"/>
                <a:sym typeface="Calibri"/>
              </a:rPr>
              <a:t>Thank you</a:t>
            </a:r>
            <a:endParaRPr sz="4000" b="1">
              <a:solidFill>
                <a:srgbClr val="FFFFFF"/>
              </a:solidFill>
              <a:ea typeface="Calibri"/>
              <a:cs typeface="Calibri"/>
              <a:sym typeface="Calibri"/>
            </a:endParaRPr>
          </a:p>
        </p:txBody>
      </p:sp>
      <p:cxnSp>
        <p:nvCxnSpPr>
          <p:cNvPr id="5" name="Shape 474"/>
          <p:cNvCxnSpPr/>
          <p:nvPr userDrawn="1"/>
        </p:nvCxnSpPr>
        <p:spPr>
          <a:xfrm>
            <a:off x="876375" y="3661149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6" name="Shape 191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8868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 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11"/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776228-6BCF-4E40-87E9-01E32C93FD08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cxnSp>
        <p:nvCxnSpPr>
          <p:cNvPr id="9" name="Shape 202"/>
          <p:cNvCxnSpPr/>
          <p:nvPr userDrawn="1"/>
        </p:nvCxnSpPr>
        <p:spPr>
          <a:xfrm>
            <a:off x="748688" y="3927150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48688" y="2259913"/>
            <a:ext cx="4473761" cy="1325563"/>
          </a:xfrm>
        </p:spPr>
        <p:txBody>
          <a:bodyPr>
            <a:normAutofit/>
          </a:bodyPr>
          <a:lstStyle>
            <a:lvl1pPr>
              <a:defRPr sz="4000">
                <a:latin typeface="Calibri 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5616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tint val="75000"/>
                </a:srgbClr>
              </a:solidFill>
            </a:endParaRPr>
          </a:p>
        </p:txBody>
      </p:sp>
      <p:cxnSp>
        <p:nvCxnSpPr>
          <p:cNvPr id="5" name="Shape 202"/>
          <p:cNvCxnSpPr/>
          <p:nvPr userDrawn="1"/>
        </p:nvCxnSpPr>
        <p:spPr>
          <a:xfrm>
            <a:off x="1646900" y="2541410"/>
            <a:ext cx="31320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46900" y="874173"/>
            <a:ext cx="6064226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174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screen temp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6" name="Shape 231"/>
          <p:cNvCxnSpPr/>
          <p:nvPr userDrawn="1"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18392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screen templa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36165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410325" y="195121"/>
            <a:ext cx="5542863" cy="4803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410325" y="885464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tro tex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410325" y="1479985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ey line</a:t>
            </a:r>
          </a:p>
          <a:p>
            <a:pPr lvl="1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23769083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 thre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6093600" y="0"/>
            <a:ext cx="6098400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 userDrawn="1"/>
        </p:nvSpPr>
        <p:spPr>
          <a:xfrm>
            <a:off x="6093600" y="2286000"/>
            <a:ext cx="6098400" cy="2286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srgbClr val="1F5F96"/>
                </a:solidFill>
                <a:latin typeface="Arial" panose="020B0604020202020204" pitchFamily="34" charset="0"/>
              </a:rPr>
              <a:t>cv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5" name="Shape 211"/>
          <p:cNvSpPr/>
          <p:nvPr userDrawn="1"/>
        </p:nvSpPr>
        <p:spPr>
          <a:xfrm>
            <a:off x="6093600" y="4572000"/>
            <a:ext cx="6098400" cy="228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853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81100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lit screen two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 userDrawn="1"/>
        </p:nvSpPr>
        <p:spPr>
          <a:xfrm>
            <a:off x="6093600" y="0"/>
            <a:ext cx="6098400" cy="34308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srgbClr val="1F5F96"/>
                </a:solidFill>
                <a:latin typeface="Arial" panose="020B0604020202020204" pitchFamily="34" charset="0"/>
              </a:rPr>
              <a:t>cv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5" name="Shape 211"/>
          <p:cNvSpPr/>
          <p:nvPr userDrawn="1"/>
        </p:nvSpPr>
        <p:spPr>
          <a:xfrm>
            <a:off x="6093600" y="3427200"/>
            <a:ext cx="6098400" cy="343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9953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graphic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 userDrawn="1"/>
        </p:nvSpPr>
        <p:spPr>
          <a:xfrm>
            <a:off x="0" y="718470"/>
            <a:ext cx="12192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sp>
        <p:nvSpPr>
          <p:cNvPr id="7" name="Shape 258"/>
          <p:cNvSpPr>
            <a:spLocks noChangeAspect="1"/>
          </p:cNvSpPr>
          <p:nvPr userDrawn="1"/>
        </p:nvSpPr>
        <p:spPr>
          <a:xfrm>
            <a:off x="604580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8" name="Shape 258"/>
          <p:cNvSpPr>
            <a:spLocks noChangeAspect="1"/>
          </p:cNvSpPr>
          <p:nvPr userDrawn="1"/>
        </p:nvSpPr>
        <p:spPr>
          <a:xfrm>
            <a:off x="2892726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9" name="Shape 258"/>
          <p:cNvSpPr>
            <a:spLocks noChangeAspect="1"/>
          </p:cNvSpPr>
          <p:nvPr userDrawn="1"/>
        </p:nvSpPr>
        <p:spPr>
          <a:xfrm>
            <a:off x="5180872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0" name="Shape 258"/>
          <p:cNvSpPr>
            <a:spLocks noChangeAspect="1"/>
          </p:cNvSpPr>
          <p:nvPr userDrawn="1"/>
        </p:nvSpPr>
        <p:spPr>
          <a:xfrm>
            <a:off x="7469018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1" name="Shape 258"/>
          <p:cNvSpPr>
            <a:spLocks noChangeAspect="1"/>
          </p:cNvSpPr>
          <p:nvPr userDrawn="1"/>
        </p:nvSpPr>
        <p:spPr>
          <a:xfrm>
            <a:off x="9757164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Font typeface="Arial"/>
              <a:buNone/>
            </a:pPr>
            <a:r>
              <a:rPr lang="en" sz="1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358657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2646803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934949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223095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9511241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35367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anel split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211"/>
          <p:cNvSpPr/>
          <p:nvPr userDrawn="1"/>
        </p:nvSpPr>
        <p:spPr>
          <a:xfrm>
            <a:off x="0" y="718470"/>
            <a:ext cx="4068000" cy="61395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9" name="Shape 211"/>
          <p:cNvSpPr/>
          <p:nvPr userDrawn="1"/>
        </p:nvSpPr>
        <p:spPr>
          <a:xfrm>
            <a:off x="4064400" y="718470"/>
            <a:ext cx="4068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10" name="Shape 211"/>
          <p:cNvSpPr/>
          <p:nvPr userDrawn="1"/>
        </p:nvSpPr>
        <p:spPr>
          <a:xfrm>
            <a:off x="8133735" y="718470"/>
            <a:ext cx="4068000" cy="6139529"/>
          </a:xfrm>
          <a:prstGeom prst="rect">
            <a:avLst/>
          </a:prstGeom>
          <a:solidFill>
            <a:srgbClr val="003C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7" name="Shape 231"/>
          <p:cNvCxnSpPr/>
          <p:nvPr userDrawn="1"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76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5520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621404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41382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PP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2014" y="220492"/>
            <a:ext cx="1427038" cy="79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63233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PC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2014" y="226986"/>
            <a:ext cx="1460440" cy="563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1686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I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658" y="248072"/>
            <a:ext cx="197980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1707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F brande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cxnSp>
        <p:nvCxnSpPr>
          <p:cNvPr id="11" name="Shape 231"/>
          <p:cNvCxnSpPr/>
          <p:nvPr userDrawn="1"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907" y="242131"/>
            <a:ext cx="1217785" cy="58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6876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inal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Shape 475"/>
          <p:cNvSpPr txBox="1"/>
          <p:nvPr userDrawn="1"/>
        </p:nvSpPr>
        <p:spPr>
          <a:xfrm>
            <a:off x="762000" y="2427540"/>
            <a:ext cx="5532300" cy="10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1000"/>
              </a:spcAft>
            </a:pPr>
            <a:r>
              <a:rPr lang="en" sz="40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Calibri"/>
                <a:sym typeface="Calibri"/>
              </a:rPr>
              <a:t>Thank you</a:t>
            </a:r>
            <a:endParaRPr sz="4000" b="1">
              <a:solidFill>
                <a:srgbClr val="FFFFFF"/>
              </a:solidFill>
              <a:latin typeface="Arial" panose="020B0604020202020204" pitchFamily="34" charset="0"/>
              <a:ea typeface="Calibri"/>
              <a:cs typeface="Calibri"/>
              <a:sym typeface="Calibri"/>
            </a:endParaRPr>
          </a:p>
        </p:txBody>
      </p:sp>
      <p:cxnSp>
        <p:nvCxnSpPr>
          <p:cNvPr id="5" name="Shape 474"/>
          <p:cNvCxnSpPr/>
          <p:nvPr userDrawn="1"/>
        </p:nvCxnSpPr>
        <p:spPr>
          <a:xfrm>
            <a:off x="876375" y="3661149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6" name="Shape 191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38746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b="0"/>
            </a:lvl1pPr>
            <a:lvl2pPr marL="266700" indent="-266700">
              <a:buFont typeface="Arial" pitchFamily="34" charset="0"/>
              <a:buChar char="•"/>
              <a:tabLst/>
              <a:defRPr/>
            </a:lvl2pPr>
            <a:lvl3pPr marL="266700" indent="-266700">
              <a:buFont typeface="Arial" pitchFamily="34" charset="0"/>
              <a:buChar char="•"/>
              <a:defRPr i="1"/>
            </a:lvl3pPr>
            <a:lvl4pPr marL="539750" indent="-273050">
              <a:buFont typeface="Arial" pitchFamily="34" charset="0"/>
              <a:buChar char="−"/>
              <a:defRPr i="0"/>
            </a:lvl4pPr>
            <a:lvl5pPr marL="806450" indent="-26670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93484" y="295683"/>
            <a:ext cx="11184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93484" y="765175"/>
            <a:ext cx="11184000" cy="969282"/>
          </a:xfr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99104" y="6407835"/>
            <a:ext cx="10079297" cy="252000"/>
          </a:xfrm>
          <a:prstGeom prst="rect">
            <a:avLst/>
          </a:prstGeom>
        </p:spPr>
        <p:txBody>
          <a:bodyPr vert="horz" lIns="36000" tIns="0" rIns="0" bIns="0" rtlCol="0" anchor="ctr" anchorCtr="0"/>
          <a:lstStyle>
            <a:lvl1pPr algn="r">
              <a:defRPr sz="800" b="0">
                <a:solidFill>
                  <a:srgbClr val="8C8C8C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latin typeface="Arial" panose="020B0604020202020204" pitchFamily="34" charset="0"/>
            </a:endParaRP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94400" y="6407835"/>
            <a:ext cx="1056117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800" b="0">
                <a:solidFill>
                  <a:srgbClr val="8C8C8C"/>
                </a:solidFill>
              </a:defRPr>
            </a:lvl1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545465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6400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/>
          <a:lstStyle>
            <a:lvl1pPr>
              <a:defRPr sz="1867" b="1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10"/>
          </p:nvPr>
        </p:nvSpPr>
        <p:spPr>
          <a:xfrm>
            <a:off x="4144434" y="6377518"/>
            <a:ext cx="3903133" cy="342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11"/>
          </p:nvPr>
        </p:nvSpPr>
        <p:spPr>
          <a:xfrm>
            <a:off x="609600" y="6377518"/>
            <a:ext cx="2804584" cy="3429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1F5F96"/>
              </a:solidFill>
              <a:latin typeface="Arial" panose="020B0604020202020204" pitchFamily="34" charset="0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F69146-9541-407C-8111-61BF99844AFC}" type="slidenum">
              <a:rPr>
                <a:solidFill>
                  <a:srgbClr val="1F5F9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>
              <a:solidFill>
                <a:srgbClr val="1F5F9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07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Google Shape;61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3" name="Google Shape;63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4" name="Google Shape;64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38690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BD5763-1FFB-4DD1-8306-92C27BF3B0E5}" type="slidenum">
              <a:rPr lang="en-GB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1F5F96">
                  <a:tint val="75000"/>
                </a:srgb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633985" y="209550"/>
            <a:ext cx="8978900" cy="660400"/>
          </a:xfrm>
        </p:spPr>
        <p:txBody>
          <a:bodyPr anchor="ctr"/>
          <a:lstStyle>
            <a:lvl1pPr marL="0" indent="0" algn="ctr">
              <a:buNone/>
              <a:defRPr sz="2400" b="1">
                <a:solidFill>
                  <a:schemeClr val="accent4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25464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94199" y="752856"/>
            <a:ext cx="11201796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94199" y="317504"/>
            <a:ext cx="11201796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94199" y="1666262"/>
            <a:ext cx="11201796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05417" y="6476360"/>
            <a:ext cx="4896560" cy="244826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970977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367" y="260349"/>
            <a:ext cx="11235267" cy="61277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367" y="1665288"/>
            <a:ext cx="11235267" cy="4716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78367" y="981075"/>
            <a:ext cx="11235267" cy="576263"/>
          </a:xfrm>
        </p:spPr>
        <p:txBody>
          <a:bodyPr vert="horz" lIns="91440" tIns="45720" rIns="91440" bIns="45720" rtlCol="0" anchor="t">
            <a:noAutofit/>
          </a:bodyPr>
          <a:lstStyle>
            <a:lvl1pPr>
              <a:defRPr lang="en-GB" sz="20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  <a:buNone/>
            </a:pPr>
            <a:r>
              <a:rPr lang="en-US"/>
              <a:t>Click to edit Page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978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7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83"/>
          <a:stretch/>
        </p:blipFill>
        <p:spPr bwMode="auto">
          <a:xfrm>
            <a:off x="164375" y="1"/>
            <a:ext cx="1032933" cy="677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29" r="16899"/>
          <a:stretch/>
        </p:blipFill>
        <p:spPr bwMode="auto">
          <a:xfrm>
            <a:off x="11124301" y="541251"/>
            <a:ext cx="1067699" cy="7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8367" y="981076"/>
            <a:ext cx="11235267" cy="5148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33674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>
                <a:solidFill>
                  <a:srgbClr val="1F5F96">
                    <a:tint val="75000"/>
                  </a:srgbClr>
                </a:solidFill>
              </a:rPr>
              <a:pPr/>
              <a:t>‹#›</a:t>
            </a:fld>
            <a:endParaRPr lang="en">
              <a:solidFill>
                <a:srgbClr val="1F5F9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5689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A64616-1868-45C1-A175-4421B06179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A64616-1868-45C1-A175-4421B06179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D1DF79C-6946-439C-B0B5-2AEE9AE045A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74" y="1967548"/>
            <a:ext cx="10492666" cy="19852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76374" y="3968750"/>
            <a:ext cx="5597134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6778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8719B-D871-4A31-8204-417F2190A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D86C1C-A1CB-4D55-AC2B-ECEB24F3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" b="250"/>
          <a:stretch/>
        </p:blipFill>
        <p:spPr>
          <a:xfrm>
            <a:off x="-21778" y="0"/>
            <a:ext cx="12235556" cy="685800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-9144" y="0"/>
            <a:ext cx="12204000" cy="6876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38D1B72-1AD9-4F17-B75A-3A856C23C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74" y="1967548"/>
            <a:ext cx="10492666" cy="19852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CEC6452C-A5BE-45DF-8D97-ED575B88B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374" y="3968750"/>
            <a:ext cx="5597134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6638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E25AF07-6AFE-A242-BB28-D94AA4BD84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5" t="-1" r="7785" b="14755"/>
          <a:stretch/>
        </p:blipFill>
        <p:spPr>
          <a:xfrm>
            <a:off x="0" y="0"/>
            <a:ext cx="12164991" cy="68985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-9144" y="0"/>
            <a:ext cx="12204000" cy="6912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8719B-D871-4A31-8204-417F2190A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38D1B72-1AD9-4F17-B75A-3A856C23C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74" y="1967548"/>
            <a:ext cx="10492666" cy="19852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CEC6452C-A5BE-45DF-8D97-ED575B88B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374" y="3968750"/>
            <a:ext cx="5597134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52494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E25AF07-6AFE-A242-BB28-D94AA4BD84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5" t="-1" r="7785" b="14755"/>
          <a:stretch/>
        </p:blipFill>
        <p:spPr>
          <a:xfrm>
            <a:off x="0" y="0"/>
            <a:ext cx="12164991" cy="6898511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E1DD0F0-FFA7-41E3-99DE-303C72C611ED}"/>
              </a:ext>
            </a:extLst>
          </p:cNvPr>
          <p:cNvSpPr/>
          <p:nvPr userDrawn="1"/>
        </p:nvSpPr>
        <p:spPr>
          <a:xfrm>
            <a:off x="-21778" y="0"/>
            <a:ext cx="12212976" cy="6858000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8719B-D871-4A31-8204-417F2190A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38D1B72-1AD9-4F17-B75A-3A856C23C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74" y="1967548"/>
            <a:ext cx="10492666" cy="19852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CEC6452C-A5BE-45DF-8D97-ED575B88B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374" y="3968750"/>
            <a:ext cx="5597134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5425440" cy="6912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60227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868719B-D871-4A31-8204-417F2190AFE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38D1B72-1AD9-4F17-B75A-3A856C23C6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6374" y="1967548"/>
            <a:ext cx="6210226" cy="1985268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540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CEC6452C-A5BE-45DF-8D97-ED575B88B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6374" y="3968750"/>
            <a:ext cx="5597134" cy="91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62B69D-7133-514B-A5AF-7E98AFD08C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5" r="47871"/>
          <a:stretch/>
        </p:blipFill>
        <p:spPr>
          <a:xfrm>
            <a:off x="7447280" y="-11027"/>
            <a:ext cx="4744720" cy="6866503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7319095" y="0"/>
            <a:ext cx="4872905" cy="6876000"/>
          </a:xfrm>
          <a:prstGeom prst="rect">
            <a:avLst/>
          </a:prstGeom>
          <a:solidFill>
            <a:schemeClr val="bg1">
              <a:alpha val="4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503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icture with Caption" type="picTx">
  <p:cSld name="Picture with Caption"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0" name="Google Shape;70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71" name="Google Shape;71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91798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2D86C1C-A1CB-4D55-AC2B-ECEB24F3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" b="250"/>
          <a:stretch/>
        </p:blipFill>
        <p:spPr>
          <a:xfrm>
            <a:off x="-21778" y="0"/>
            <a:ext cx="1223555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E1DD0F0-FFA7-41E3-99DE-303C72C611ED}"/>
              </a:ext>
            </a:extLst>
          </p:cNvPr>
          <p:cNvSpPr/>
          <p:nvPr userDrawn="1"/>
        </p:nvSpPr>
        <p:spPr>
          <a:xfrm>
            <a:off x="-21778" y="0"/>
            <a:ext cx="12212976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100000">
                <a:schemeClr val="accent1">
                  <a:alpha val="26000"/>
                </a:schemeClr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5643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E25AF07-6AFE-A242-BB28-D94AA4BD84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5" t="-1" r="7785" b="14755"/>
          <a:stretch/>
        </p:blipFill>
        <p:spPr>
          <a:xfrm>
            <a:off x="27009" y="0"/>
            <a:ext cx="12164991" cy="689851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E1DD0F0-FFA7-41E3-99DE-303C72C611ED}"/>
              </a:ext>
            </a:extLst>
          </p:cNvPr>
          <p:cNvSpPr/>
          <p:nvPr userDrawn="1"/>
        </p:nvSpPr>
        <p:spPr>
          <a:xfrm>
            <a:off x="-21778" y="0"/>
            <a:ext cx="12212976" cy="6858000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407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E62FCE-373B-4BC1-A71C-B51DF2D1E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8E62FCE-373B-4BC1-A71C-B51DF2D1ED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13DFCED-CD8A-44C2-8469-AF6ADE6F67F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2D86C1C-A1CB-4D55-AC2B-ECEB24F326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" b="250"/>
          <a:stretch/>
        </p:blipFill>
        <p:spPr>
          <a:xfrm>
            <a:off x="-21778" y="0"/>
            <a:ext cx="1223555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E1DD0F0-FFA7-41E3-99DE-303C72C611ED}"/>
              </a:ext>
            </a:extLst>
          </p:cNvPr>
          <p:cNvSpPr/>
          <p:nvPr userDrawn="1"/>
        </p:nvSpPr>
        <p:spPr>
          <a:xfrm>
            <a:off x="-21778" y="0"/>
            <a:ext cx="12212976" cy="6858000"/>
          </a:xfrm>
          <a:prstGeom prst="rect">
            <a:avLst/>
          </a:prstGeom>
          <a:solidFill>
            <a:schemeClr val="accent1">
              <a:alpha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D34F1F-C0FC-4B0F-AF75-88A1AF141A75}"/>
              </a:ext>
            </a:extLst>
          </p:cNvPr>
          <p:cNvSpPr/>
          <p:nvPr userDrawn="1"/>
        </p:nvSpPr>
        <p:spPr>
          <a:xfrm>
            <a:off x="6218866" y="2437621"/>
            <a:ext cx="125412" cy="2758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A3E9AB83-7235-486B-B4FF-B50A84F7130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553201" y="1449388"/>
            <a:ext cx="5313997" cy="5040312"/>
          </a:xfrm>
          <a:prstGeom prst="rect">
            <a:avLst/>
          </a:prstGeom>
        </p:spPr>
        <p:txBody>
          <a:bodyPr tIns="0" bIns="0" anchor="ctr"/>
          <a:lstStyle>
            <a:lvl1pPr>
              <a:defRPr sz="6600" b="1" cap="none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2EFBDD-B850-4BFF-A45E-6A6D70389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5482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&amp;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F568C5C-7E23-4917-BB6E-B00199B17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F568C5C-7E23-4917-BB6E-B00199B17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E763BFC-1F48-4361-A482-721719959BD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>
          <a:xfrm>
            <a:off x="334962" y="368663"/>
            <a:ext cx="11532235" cy="360000"/>
          </a:xfrm>
          <a:prstGeom prst="rect">
            <a:avLst/>
          </a:prstGeom>
        </p:spPr>
        <p:txBody>
          <a:bodyPr tIns="0" bIns="0" anchor="ctr"/>
          <a:lstStyle>
            <a:lvl1pPr>
              <a:defRPr sz="2800" b="1" cap="none" spc="0" baseline="0">
                <a:solidFill>
                  <a:srgbClr val="1B235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334962" y="733337"/>
            <a:ext cx="11532235" cy="360000"/>
          </a:xfrm>
          <a:prstGeom prst="rect">
            <a:avLst/>
          </a:prstGeom>
        </p:spPr>
        <p:txBody>
          <a:bodyPr tIns="0" bIns="0" anchor="ctr"/>
          <a:lstStyle>
            <a:lvl1pPr>
              <a:defRPr lang="en-US" sz="1600" b="0" cap="none" spc="0" baseline="0" dirty="0">
                <a:solidFill>
                  <a:srgbClr val="1B235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>
              <a:lnSpc>
                <a:spcPct val="80000"/>
              </a:lnSpc>
              <a:spcBef>
                <a:spcPct val="0"/>
              </a:spcBef>
            </a:pPr>
            <a:r>
              <a:rPr lang="en-US"/>
              <a:t>Click to edit subtit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7579F53-9D0D-41BD-8F08-F05CCB67FD6E}"/>
              </a:ext>
            </a:extLst>
          </p:cNvPr>
          <p:cNvSpPr txBox="1"/>
          <p:nvPr userDrawn="1"/>
        </p:nvSpPr>
        <p:spPr bwMode="auto">
          <a:xfrm>
            <a:off x="5563973" y="92120"/>
            <a:ext cx="1063047" cy="18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GB" sz="700" b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FOR DISCUSSION</a:t>
            </a:r>
          </a:p>
        </p:txBody>
      </p:sp>
    </p:spTree>
    <p:extLst>
      <p:ext uri="{BB962C8B-B14F-4D97-AF65-F5344CB8AC3E}">
        <p14:creationId xmlns:p14="http://schemas.microsoft.com/office/powerpoint/2010/main" val="31371268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screen temp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97955B-67F2-4EA3-AC78-76F850A6C223}" type="slidenum">
              <a:rPr lang="en-GB" smtClean="0"/>
              <a:t>‹#›</a:t>
            </a:fld>
            <a:endParaRPr lang="en-GB"/>
          </a:p>
        </p:txBody>
      </p:sp>
      <p:cxnSp>
        <p:nvCxnSpPr>
          <p:cNvPr id="6" name="Shape 231"/>
          <p:cNvCxnSpPr/>
          <p:nvPr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98111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68"/>
            <a:ext cx="11252200" cy="357187"/>
          </a:xfrm>
        </p:spPr>
        <p:txBody>
          <a:bodyPr/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0" y="5982790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GB" noProof="0"/>
              <a:t>Click icon to add char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393744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hape 192"/>
          <p:cNvCxnSpPr/>
          <p:nvPr/>
        </p:nvCxnSpPr>
        <p:spPr>
          <a:xfrm>
            <a:off x="876375" y="3662151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9" name="Shape 191"/>
          <p:cNvPicPr preferRelativeResize="0">
            <a:picLocks noChangeAspect="1"/>
          </p:cNvPicPr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75" y="2109093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253947" y="9322"/>
            <a:ext cx="3684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tective marking: Official</a:t>
            </a:r>
          </a:p>
        </p:txBody>
      </p:sp>
    </p:spTree>
    <p:extLst>
      <p:ext uri="{BB962C8B-B14F-4D97-AF65-F5344CB8AC3E}">
        <p14:creationId xmlns:p14="http://schemas.microsoft.com/office/powerpoint/2010/main" val="4098203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46899" y="2259912"/>
            <a:ext cx="4508803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5" name="Shape 202"/>
          <p:cNvCxnSpPr/>
          <p:nvPr/>
        </p:nvCxnSpPr>
        <p:spPr>
          <a:xfrm>
            <a:off x="1646900" y="3927150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</p:spTree>
    <p:extLst>
      <p:ext uri="{BB962C8B-B14F-4D97-AF65-F5344CB8AC3E}">
        <p14:creationId xmlns:p14="http://schemas.microsoft.com/office/powerpoint/2010/main" val="2046410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screen section hea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211"/>
          <p:cNvSpPr/>
          <p:nvPr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hape 202"/>
          <p:cNvCxnSpPr/>
          <p:nvPr/>
        </p:nvCxnSpPr>
        <p:spPr>
          <a:xfrm>
            <a:off x="748688" y="3927150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748688" y="2259913"/>
            <a:ext cx="4473761" cy="13255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latin typeface="Calibri 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75416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-section p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Shape 202"/>
          <p:cNvCxnSpPr/>
          <p:nvPr/>
        </p:nvCxnSpPr>
        <p:spPr>
          <a:xfrm>
            <a:off x="1646900" y="2541410"/>
            <a:ext cx="31320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646900" y="874173"/>
            <a:ext cx="6064226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32315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Title and Vertical 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3218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templa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hape 231"/>
          <p:cNvCxnSpPr/>
          <p:nvPr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8416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templa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91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screen with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/>
        </p:nvSpPr>
        <p:spPr>
          <a:xfrm>
            <a:off x="6093600" y="0"/>
            <a:ext cx="6098400" cy="6858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410325" y="195121"/>
            <a:ext cx="5542863" cy="48030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410325" y="885464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tro text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410325" y="1479985"/>
            <a:ext cx="4449958" cy="461962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Key line</a:t>
            </a:r>
          </a:p>
          <a:p>
            <a:pPr lvl="1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106757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screen three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/>
        </p:nvSpPr>
        <p:spPr>
          <a:xfrm>
            <a:off x="6093600" y="0"/>
            <a:ext cx="6098400" cy="228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/>
        </p:nvSpPr>
        <p:spPr>
          <a:xfrm>
            <a:off x="6093600" y="2286000"/>
            <a:ext cx="6098400" cy="22860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F5F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v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hape 211"/>
          <p:cNvSpPr/>
          <p:nvPr/>
        </p:nvSpPr>
        <p:spPr>
          <a:xfrm>
            <a:off x="6093600" y="4572000"/>
            <a:ext cx="6098400" cy="228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27796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lit screen two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40375" y="1864717"/>
            <a:ext cx="4959147" cy="36216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100138"/>
            <a:ext cx="5307422" cy="379412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accent1"/>
                </a:solidFill>
              </a:defRPr>
            </a:lvl1pPr>
            <a:lvl2pPr marL="457200" indent="0">
              <a:buNone/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 marL="18288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-title</a:t>
            </a:r>
          </a:p>
        </p:txBody>
      </p:sp>
      <p:sp>
        <p:nvSpPr>
          <p:cNvPr id="13" name="Shape 211"/>
          <p:cNvSpPr/>
          <p:nvPr/>
        </p:nvSpPr>
        <p:spPr>
          <a:xfrm>
            <a:off x="6093600" y="0"/>
            <a:ext cx="6098400" cy="34308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F5F9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v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hape 211"/>
          <p:cNvSpPr/>
          <p:nvPr/>
        </p:nvSpPr>
        <p:spPr>
          <a:xfrm>
            <a:off x="6093600" y="3427200"/>
            <a:ext cx="6098400" cy="3430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12602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congraphic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1"/>
          <p:cNvSpPr/>
          <p:nvPr/>
        </p:nvSpPr>
        <p:spPr>
          <a:xfrm>
            <a:off x="0" y="718470"/>
            <a:ext cx="12192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hape 258"/>
          <p:cNvSpPr>
            <a:spLocks noChangeAspect="1"/>
          </p:cNvSpPr>
          <p:nvPr/>
        </p:nvSpPr>
        <p:spPr>
          <a:xfrm>
            <a:off x="604580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hape 258"/>
          <p:cNvSpPr>
            <a:spLocks noChangeAspect="1"/>
          </p:cNvSpPr>
          <p:nvPr/>
        </p:nvSpPr>
        <p:spPr>
          <a:xfrm>
            <a:off x="2892726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258"/>
          <p:cNvSpPr>
            <a:spLocks noChangeAspect="1"/>
          </p:cNvSpPr>
          <p:nvPr/>
        </p:nvSpPr>
        <p:spPr>
          <a:xfrm>
            <a:off x="5180872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258"/>
          <p:cNvSpPr>
            <a:spLocks noChangeAspect="1"/>
          </p:cNvSpPr>
          <p:nvPr/>
        </p:nvSpPr>
        <p:spPr>
          <a:xfrm>
            <a:off x="7469018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hape 258"/>
          <p:cNvSpPr>
            <a:spLocks noChangeAspect="1"/>
          </p:cNvSpPr>
          <p:nvPr/>
        </p:nvSpPr>
        <p:spPr>
          <a:xfrm>
            <a:off x="9757164" y="2729558"/>
            <a:ext cx="1398884" cy="1398884"/>
          </a:xfrm>
          <a:prstGeom prst="ellipse">
            <a:avLst/>
          </a:prstGeom>
          <a:solidFill>
            <a:srgbClr val="FFFFFF">
              <a:alpha val="25380"/>
            </a:srgb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6"/>
          </p:nvPr>
        </p:nvSpPr>
        <p:spPr>
          <a:xfrm>
            <a:off x="358657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2646803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4934949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7223095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9511241" y="4359272"/>
            <a:ext cx="1890730" cy="612974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2469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split sc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211"/>
          <p:cNvSpPr/>
          <p:nvPr/>
        </p:nvSpPr>
        <p:spPr>
          <a:xfrm>
            <a:off x="0" y="718470"/>
            <a:ext cx="4068000" cy="6139529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hape 211"/>
          <p:cNvSpPr/>
          <p:nvPr/>
        </p:nvSpPr>
        <p:spPr>
          <a:xfrm>
            <a:off x="4064400" y="718470"/>
            <a:ext cx="4068000" cy="6139529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hape 211"/>
          <p:cNvSpPr/>
          <p:nvPr/>
        </p:nvSpPr>
        <p:spPr>
          <a:xfrm>
            <a:off x="8133735" y="718470"/>
            <a:ext cx="4068000" cy="6139529"/>
          </a:xfrm>
          <a:prstGeom prst="rect">
            <a:avLst/>
          </a:prstGeom>
          <a:solidFill>
            <a:srgbClr val="003C6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F5F9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hape 231"/>
          <p:cNvCxnSpPr/>
          <p:nvPr/>
        </p:nvCxnSpPr>
        <p:spPr>
          <a:xfrm>
            <a:off x="0" y="718471"/>
            <a:ext cx="12198135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876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552069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621404" y="2501688"/>
            <a:ext cx="3092662" cy="25730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41213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PP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14" y="220492"/>
            <a:ext cx="1427038" cy="79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70455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PC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90778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I brand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77658" y="248072"/>
            <a:ext cx="1979800" cy="5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7203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Vertical Title and Text" type="vertTitleAndTx">
  <p:cSld name="Vertical Title and Tex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91221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F brande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" name="Shape 231"/>
          <p:cNvCxnSpPr/>
          <p:nvPr/>
        </p:nvCxnSpPr>
        <p:spPr>
          <a:xfrm>
            <a:off x="0" y="718471"/>
            <a:ext cx="5868000" cy="0"/>
          </a:xfrm>
          <a:prstGeom prst="straightConnector1">
            <a:avLst/>
          </a:prstGeom>
          <a:noFill/>
          <a:ln w="28575" cap="flat" cmpd="sng">
            <a:solidFill>
              <a:srgbClr val="1F5F96"/>
            </a:solidFill>
            <a:prstDash val="solid"/>
            <a:round/>
            <a:headEnd type="none" w="lg" len="lg"/>
            <a:tailEnd type="none" w="lg" len="lg"/>
          </a:ln>
        </p:spPr>
      </p:cxn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36414" y="47133"/>
            <a:ext cx="5911899" cy="7762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51548" y="1260836"/>
            <a:ext cx="11095038" cy="48466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4907" y="242131"/>
            <a:ext cx="1217785" cy="581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109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hape 475"/>
          <p:cNvSpPr txBox="1"/>
          <p:nvPr/>
        </p:nvSpPr>
        <p:spPr>
          <a:xfrm>
            <a:off x="762000" y="2427540"/>
            <a:ext cx="5532300" cy="102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" sz="4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Thank you</a:t>
            </a:r>
            <a:endParaRPr kumimoji="0" sz="4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5" name="Shape 474"/>
          <p:cNvCxnSpPr/>
          <p:nvPr/>
        </p:nvCxnSpPr>
        <p:spPr>
          <a:xfrm>
            <a:off x="876375" y="3661149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6" name="Shape 191"/>
          <p:cNvPicPr preferRelativeResize="0">
            <a:picLocks noChangeAspect="1"/>
          </p:cNvPicPr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97349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hape 192"/>
          <p:cNvCxnSpPr/>
          <p:nvPr userDrawn="1"/>
        </p:nvCxnSpPr>
        <p:spPr>
          <a:xfrm>
            <a:off x="876375" y="3662151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9" name="Shape 191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75" y="2109093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398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hape 192"/>
          <p:cNvCxnSpPr/>
          <p:nvPr userDrawn="1"/>
        </p:nvCxnSpPr>
        <p:spPr>
          <a:xfrm>
            <a:off x="876375" y="3662151"/>
            <a:ext cx="22023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9" name="Shape 191"/>
          <p:cNvPicPr preferRelativeResize="0">
            <a:picLocks noChangeAspect="1"/>
          </p:cNvPicPr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130175" y="152399"/>
            <a:ext cx="1300090" cy="72090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75" y="2109093"/>
            <a:ext cx="10515600" cy="132556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776228-6BCF-4E40-87E9-01E32C93FD08}" type="slidenum">
              <a:rPr lang="en-GB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FFFFF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217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tags" Target="../tags/tag1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oleObject" Target="../embeddings/oleObject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image" Target="../media/image14.tif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endParaRPr kern="0"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endParaRPr kern="0"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GB" kern="0"/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kern="0"/>
          </a:p>
        </p:txBody>
      </p:sp>
    </p:spTree>
    <p:extLst>
      <p:ext uri="{BB962C8B-B14F-4D97-AF65-F5344CB8AC3E}">
        <p14:creationId xmlns:p14="http://schemas.microsoft.com/office/powerpoint/2010/main" val="348395172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70" imgH="469" progId="TCLayout.ActiveDocument.1">
                  <p:embed/>
                </p:oleObj>
              </mc:Choice>
              <mc:Fallback>
                <p:oleObj name="think-cell Slide" r:id="rId40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829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2014" y="6356350"/>
            <a:ext cx="8017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D2776228-6BCF-4E40-87E9-01E32C93FD08}" type="slidenum">
              <a:rPr lang="en-GB" smtClean="0">
                <a:solidFill>
                  <a:srgbClr val="1F5F96">
                    <a:tint val="75000"/>
                  </a:srgbClr>
                </a:solidFill>
                <a:latin typeface="Arial" panose="020B0604020202020204" pitchFamily="34" charset="0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>
              <a:solidFill>
                <a:srgbClr val="1F5F96">
                  <a:tint val="75000"/>
                </a:srgb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6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  <p:sldLayoutId id="2147483795" r:id="rId25"/>
    <p:sldLayoutId id="2147483796" r:id="rId26"/>
    <p:sldLayoutId id="2147483797" r:id="rId27"/>
    <p:sldLayoutId id="2147483798" r:id="rId28"/>
    <p:sldLayoutId id="2147483799" r:id="rId29"/>
    <p:sldLayoutId id="2147483800" r:id="rId30"/>
    <p:sldLayoutId id="2147483801" r:id="rId31"/>
    <p:sldLayoutId id="2147483802" r:id="rId32"/>
    <p:sldLayoutId id="2147483803" r:id="rId33"/>
    <p:sldLayoutId id="2147483805" r:id="rId34"/>
    <p:sldLayoutId id="2147483806" r:id="rId35"/>
    <p:sldLayoutId id="2147483807" r:id="rId36"/>
    <p:sldLayoutId id="2147483808" r:id="rId3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3C69"/>
          </a:solidFill>
          <a:latin typeface="Calibri 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C1DB73-215B-4216-8E07-97CEA3DE55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C1DB73-215B-4216-8E07-97CEA3DE55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11867198" y="6660862"/>
            <a:ext cx="324000" cy="180000"/>
          </a:xfrm>
          <a:prstGeom prst="rect">
            <a:avLst/>
          </a:prstGeom>
        </p:spPr>
        <p:txBody>
          <a:bodyPr vert="horz" wrap="none" lIns="0" tIns="0" rIns="0" bIns="0" rtlCol="0" anchor="ctr" anchorCtr="0"/>
          <a:lstStyle>
            <a:lvl1pPr algn="ctr">
              <a:defRPr sz="6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0D558541-60C9-42A2-8392-FF12533A6B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049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</p:sldLayoutIdLst>
  <p:hf hdr="0" ftr="0" dt="0"/>
  <p:txStyles>
    <p:titleStyle>
      <a:lvl1pPr algn="l" defTabSz="1734590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182871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365742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4pPr>
      <a:lvl5pPr marL="182871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lack" charset="0"/>
          <a:cs typeface="Arial Black" charset="0"/>
        </a:defRPr>
      </a:lvl5pPr>
      <a:lvl6pPr marL="365742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2133" b="1" i="0" kern="1200" cap="none" baseline="0">
          <a:solidFill>
            <a:schemeClr val="tx2"/>
          </a:solidFill>
          <a:latin typeface="Arial Bold" charset="0"/>
          <a:ea typeface="Arial Bold" charset="0"/>
          <a:cs typeface="Arial Bold" charset="0"/>
        </a:defRPr>
      </a:lvl6pPr>
      <a:lvl7pPr marL="0" indent="0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7pPr>
      <a:lvl8pPr marL="182871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old" charset="0"/>
          <a:cs typeface="Arial Bold" charset="0"/>
        </a:defRPr>
      </a:lvl8pPr>
      <a:lvl9pPr marL="365742" indent="-182871" algn="l" defTabSz="1734590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defRPr sz="1867" b="1" i="0" kern="1200" cap="none" baseline="0">
          <a:solidFill>
            <a:schemeClr val="tx1"/>
          </a:solidFill>
          <a:latin typeface="Arial Bold" charset="0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296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590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886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183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478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774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068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364" algn="l" defTabSz="1734590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7" orient="horz" pos="686">
          <p15:clr>
            <a:srgbClr val="F26B43"/>
          </p15:clr>
        </p15:guide>
        <p15:guide id="8" orient="horz" pos="2500">
          <p15:clr>
            <a:srgbClr val="F26B43"/>
          </p15:clr>
        </p15:guide>
        <p15:guide id="10" orient="horz" pos="4201">
          <p15:clr>
            <a:srgbClr val="F26B43"/>
          </p15:clr>
        </p15:guide>
        <p15:guide id="11" pos="211">
          <p15:clr>
            <a:srgbClr val="F26B43"/>
          </p15:clr>
        </p15:guide>
        <p15:guide id="12" pos="7469">
          <p15:clr>
            <a:srgbClr val="F26B43"/>
          </p15:clr>
        </p15:guide>
        <p15:guide id="13" orient="horz" pos="232">
          <p15:clr>
            <a:srgbClr val="F26B43"/>
          </p15:clr>
        </p15:guide>
        <p15:guide id="14" orient="horz" pos="459">
          <p15:clr>
            <a:srgbClr val="F26B43"/>
          </p15:clr>
        </p15:guide>
        <p15:guide id="15" orient="horz" pos="913">
          <p15:clr>
            <a:srgbClr val="F26B43"/>
          </p15:clr>
        </p15:guide>
        <p15:guide id="16" pos="3953">
          <p15:clr>
            <a:srgbClr val="F26B43"/>
          </p15:clr>
        </p15:guide>
        <p15:guide id="17" pos="3727">
          <p15:clr>
            <a:srgbClr val="F26B43"/>
          </p15:clr>
        </p15:guide>
        <p15:guide id="18" pos="5654">
          <p15:clr>
            <a:srgbClr val="F26B43"/>
          </p15:clr>
        </p15:guide>
        <p15:guide id="19" pos="2026">
          <p15:clr>
            <a:srgbClr val="F26B43"/>
          </p15:clr>
        </p15:guide>
        <p15:guide id="20" orient="horz" pos="799">
          <p15:clr>
            <a:srgbClr val="F26B43"/>
          </p15:clr>
        </p15:guide>
        <p15:guide id="21" orient="horz" pos="408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2014" y="6356350"/>
            <a:ext cx="80178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7955B-67F2-4EA3-AC78-76F850A6C22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1F5F96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F5F96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2014" y="220492"/>
            <a:ext cx="1427038" cy="79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557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3C69"/>
          </a:solidFill>
          <a:latin typeface="Calibri 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C69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tiff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hyperlink" Target="https://vimeo.com/253939429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18" Type="http://schemas.openxmlformats.org/officeDocument/2006/relationships/image" Target="../media/image46.png"/><Relationship Id="rId3" Type="http://schemas.openxmlformats.org/officeDocument/2006/relationships/image" Target="../media/image21.png"/><Relationship Id="rId7" Type="http://schemas.openxmlformats.org/officeDocument/2006/relationships/image" Target="../media/image35.sv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svg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19" Type="http://schemas.openxmlformats.org/officeDocument/2006/relationships/image" Target="../media/image47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Relationship Id="rId14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tm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7162800"/>
          </a:xfrm>
          <a:prstGeom prst="rect">
            <a:avLst/>
          </a:prstGeom>
        </p:spPr>
      </p:pic>
      <p:sp>
        <p:nvSpPr>
          <p:cNvPr id="112" name="Google Shape;112;p2"/>
          <p:cNvSpPr txBox="1"/>
          <p:nvPr/>
        </p:nvSpPr>
        <p:spPr>
          <a:xfrm>
            <a:off x="378690" y="1472866"/>
            <a:ext cx="10414001" cy="202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5333"/>
              <a:buFont typeface="Arial"/>
              <a:buNone/>
            </a:pPr>
            <a:r>
              <a:rPr lang="en-GB" sz="5333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Single Online Home, </a:t>
            </a:r>
            <a:br>
              <a:rPr lang="en-GB" sz="5333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GB" sz="5333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ottinghamshire Police</a:t>
            </a:r>
            <a:endParaRPr sz="5333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" name="Google Shape;113;p2"/>
          <p:cNvSpPr txBox="1"/>
          <p:nvPr/>
        </p:nvSpPr>
        <p:spPr>
          <a:xfrm>
            <a:off x="8915433" y="5989667"/>
            <a:ext cx="3006400" cy="7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33"/>
              <a:buFont typeface="Arial"/>
              <a:buNone/>
            </a:pPr>
            <a:endParaRPr sz="1333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14" name="Google Shape;114;p2"/>
          <p:cNvCxnSpPr/>
          <p:nvPr/>
        </p:nvCxnSpPr>
        <p:spPr>
          <a:xfrm>
            <a:off x="549664" y="3412464"/>
            <a:ext cx="29364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5" name="Google Shape;115;p2"/>
          <p:cNvSpPr txBox="1"/>
          <p:nvPr/>
        </p:nvSpPr>
        <p:spPr>
          <a:xfrm>
            <a:off x="461818" y="3603075"/>
            <a:ext cx="5701600" cy="79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133"/>
              <a:buFont typeface="Arial"/>
              <a:buNone/>
            </a:pPr>
            <a:r>
              <a:rPr lang="en-GB" sz="2133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ocal identity, national consistency</a:t>
            </a:r>
            <a:endParaRPr sz="1333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6" name="Google Shape;116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50634" y="245231"/>
            <a:ext cx="1530733" cy="5905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D386E6-E012-DF48-A9C8-D40290AB7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20634" y="2738400"/>
            <a:ext cx="3701918" cy="2616539"/>
          </a:xfrm>
          <a:prstGeom prst="rect">
            <a:avLst/>
          </a:prstGeom>
        </p:spPr>
      </p:pic>
      <p:sp>
        <p:nvSpPr>
          <p:cNvPr id="172" name="Google Shape;172;gc8cb26b754_0_18"/>
          <p:cNvSpPr/>
          <p:nvPr/>
        </p:nvSpPr>
        <p:spPr>
          <a:xfrm>
            <a:off x="0" y="0"/>
            <a:ext cx="12192000" cy="17649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3" name="Google Shape;173;gc8cb26b754_0_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704967" y="205618"/>
            <a:ext cx="1276100" cy="492300"/>
          </a:xfrm>
          <a:prstGeom prst="rect">
            <a:avLst/>
          </a:prstGeom>
          <a:noFill/>
          <a:ln>
            <a:noFill/>
          </a:ln>
        </p:spPr>
      </p:pic>
      <p:sp>
        <p:nvSpPr>
          <p:cNvPr id="174" name="Google Shape;174;gc8cb26b754_0_18"/>
          <p:cNvSpPr txBox="1"/>
          <p:nvPr/>
        </p:nvSpPr>
        <p:spPr>
          <a:xfrm>
            <a:off x="382975" y="381000"/>
            <a:ext cx="3738900" cy="68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What is SOH?</a:t>
            </a: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75" name="Google Shape;175;gc8cb26b754_0_18"/>
          <p:cNvCxnSpPr/>
          <p:nvPr/>
        </p:nvCxnSpPr>
        <p:spPr>
          <a:xfrm>
            <a:off x="489642" y="915200"/>
            <a:ext cx="8607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76" name="Google Shape;176;gc8cb26b754_0_18"/>
          <p:cNvSpPr/>
          <p:nvPr/>
        </p:nvSpPr>
        <p:spPr>
          <a:xfrm>
            <a:off x="454000" y="2001767"/>
            <a:ext cx="3842700" cy="519900"/>
          </a:xfrm>
          <a:prstGeom prst="homePlate">
            <a:avLst>
              <a:gd name="adj" fmla="val 50000"/>
            </a:avLst>
          </a:prstGeom>
          <a:solidFill>
            <a:srgbClr val="5BB4DD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7" name="Google Shape;177;gc8cb26b754_0_18"/>
          <p:cNvSpPr/>
          <p:nvPr/>
        </p:nvSpPr>
        <p:spPr>
          <a:xfrm>
            <a:off x="8012976" y="2001767"/>
            <a:ext cx="3879000" cy="519900"/>
          </a:xfrm>
          <a:prstGeom prst="chevron">
            <a:avLst>
              <a:gd name="adj" fmla="val 50000"/>
            </a:avLst>
          </a:prstGeom>
          <a:solidFill>
            <a:srgbClr val="1F5F9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gc8cb26b754_0_18"/>
          <p:cNvSpPr txBox="1"/>
          <p:nvPr/>
        </p:nvSpPr>
        <p:spPr>
          <a:xfrm>
            <a:off x="556047" y="2051800"/>
            <a:ext cx="3061500" cy="3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ffective Triage</a:t>
            </a:r>
            <a:endParaRPr sz="10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" name="Google Shape;179;gc8cb26b754_0_18"/>
          <p:cNvSpPr txBox="1"/>
          <p:nvPr/>
        </p:nvSpPr>
        <p:spPr>
          <a:xfrm>
            <a:off x="8788384" y="2051800"/>
            <a:ext cx="2328000" cy="3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eaningful outcomes</a:t>
            </a: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" name="Google Shape;180;gc8cb26b754_0_18"/>
          <p:cNvSpPr txBox="1"/>
          <p:nvPr/>
        </p:nvSpPr>
        <p:spPr>
          <a:xfrm>
            <a:off x="4545550" y="5424924"/>
            <a:ext cx="3447600" cy="123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 dirty="0">
                <a:solidFill>
                  <a:srgbClr val="2E75B6"/>
                </a:solidFill>
                <a:latin typeface="Calibri"/>
                <a:ea typeface="Calibri"/>
                <a:cs typeface="Calibri"/>
                <a:sym typeface="Calibri"/>
              </a:rPr>
              <a:t>Dynamically building the questions we need to ask based on the triage to ensure forms automatically are sent to the right business area with the right information.</a:t>
            </a:r>
            <a:endParaRPr sz="1200" b="0" i="0" u="none" strike="noStrike" cap="none" dirty="0">
              <a:solidFill>
                <a:srgbClr val="2E75B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" name="Google Shape;181;gc8cb26b754_0_18"/>
          <p:cNvSpPr txBox="1"/>
          <p:nvPr/>
        </p:nvSpPr>
        <p:spPr>
          <a:xfrm>
            <a:off x="8568152" y="5424922"/>
            <a:ext cx="3254400" cy="10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 dirty="0">
                <a:solidFill>
                  <a:srgbClr val="2E75B6"/>
                </a:solidFill>
                <a:latin typeface="Calibri"/>
                <a:ea typeface="Calibri"/>
                <a:cs typeface="Calibri"/>
                <a:sym typeface="Calibri"/>
              </a:rPr>
              <a:t>Providing users with appropriate reference information and collecting evidence in an appropriate format to investigate and prosecute if necessary.</a:t>
            </a:r>
            <a:endParaRPr sz="1200" b="0" i="0" u="none" strike="noStrike" cap="none" dirty="0">
              <a:solidFill>
                <a:srgbClr val="2E75B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" name="Google Shape;182;gc8cb26b754_0_18"/>
          <p:cNvSpPr/>
          <p:nvPr/>
        </p:nvSpPr>
        <p:spPr>
          <a:xfrm>
            <a:off x="4208725" y="2001767"/>
            <a:ext cx="3879000" cy="519900"/>
          </a:xfrm>
          <a:prstGeom prst="chevron">
            <a:avLst>
              <a:gd name="adj" fmla="val 50000"/>
            </a:avLst>
          </a:prstGeom>
          <a:solidFill>
            <a:srgbClr val="3385B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3" name="Google Shape;183;gc8cb26b754_0_18"/>
          <p:cNvSpPr txBox="1"/>
          <p:nvPr/>
        </p:nvSpPr>
        <p:spPr>
          <a:xfrm>
            <a:off x="4698107" y="2051800"/>
            <a:ext cx="2899800" cy="39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ynamic forms</a:t>
            </a: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gc8cb26b754_0_18"/>
          <p:cNvSpPr txBox="1"/>
          <p:nvPr/>
        </p:nvSpPr>
        <p:spPr>
          <a:xfrm>
            <a:off x="600700" y="5424923"/>
            <a:ext cx="3447600" cy="81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GB" sz="1200" b="0" i="0" u="none" strike="noStrike" cap="none" dirty="0">
                <a:solidFill>
                  <a:srgbClr val="2E75B6"/>
                </a:solidFill>
                <a:latin typeface="Calibri"/>
                <a:ea typeface="Calibri"/>
                <a:cs typeface="Calibri"/>
                <a:sym typeface="Calibri"/>
              </a:rPr>
              <a:t>Asking the right customer focused questions to understand what is right for them and for us.</a:t>
            </a:r>
            <a:endParaRPr sz="1200" b="0" i="0" u="none" strike="noStrike" cap="none" dirty="0">
              <a:solidFill>
                <a:srgbClr val="2E75B6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" name="Google Shape;185;gc8cb26b754_0_18"/>
          <p:cNvSpPr/>
          <p:nvPr/>
        </p:nvSpPr>
        <p:spPr>
          <a:xfrm>
            <a:off x="494450" y="1046100"/>
            <a:ext cx="8293800" cy="646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Clr>
                <a:srgbClr val="77C0E1"/>
              </a:buClr>
              <a:buSzPts val="1400"/>
            </a:pPr>
            <a:r>
              <a:rPr lang="en-GB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l forces who subscribe to SOH get the benefits of a </a:t>
            </a:r>
            <a: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ised and consistent </a:t>
            </a:r>
            <a:r>
              <a:rPr lang="en-GB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</a:t>
            </a:r>
            <a:r>
              <a:rPr lang="en-GB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r experience, </a:t>
            </a:r>
            <a:r>
              <a:rPr lang="en-GB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rrently live across 30 live forces, in a highly safe and secure environment for citizens. Services are developed after nationwide, robust consultation with forces.</a:t>
            </a:r>
            <a:endParaRPr lang="en-GB" dirty="0"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" name="Google Shape;187;gc8cb26b754_0_18" descr="Graphical user interface, application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l="54379" t="10103" b="4059"/>
          <a:stretch/>
        </p:blipFill>
        <p:spPr>
          <a:xfrm>
            <a:off x="4566258" y="2716200"/>
            <a:ext cx="3163460" cy="25670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8" name="Google Shape;188;gc8cb26b754_0_18" descr="Graphical user interface, application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r="45465"/>
          <a:stretch/>
        </p:blipFill>
        <p:spPr>
          <a:xfrm>
            <a:off x="600700" y="2707428"/>
            <a:ext cx="3303449" cy="2612668"/>
          </a:xfrm>
          <a:prstGeom prst="rect">
            <a:avLst/>
          </a:prstGeom>
          <a:noFill/>
          <a:ln>
            <a:noFill/>
          </a:ln>
        </p:spPr>
      </p:pic>
      <p:sp>
        <p:nvSpPr>
          <p:cNvPr id="189" name="Google Shape;189;gc8cb26b754_0_18"/>
          <p:cNvSpPr/>
          <p:nvPr/>
        </p:nvSpPr>
        <p:spPr>
          <a:xfrm>
            <a:off x="3972097" y="3984073"/>
            <a:ext cx="586500" cy="287100"/>
          </a:xfrm>
          <a:prstGeom prst="homePlate">
            <a:avLst>
              <a:gd name="adj" fmla="val 50000"/>
            </a:avLst>
          </a:prstGeom>
          <a:noFill/>
          <a:ln w="127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GB" sz="10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Using</a:t>
            </a:r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gc8cb26b754_0_18"/>
          <p:cNvSpPr/>
          <p:nvPr/>
        </p:nvSpPr>
        <p:spPr>
          <a:xfrm>
            <a:off x="7737384" y="3984075"/>
            <a:ext cx="696300" cy="287100"/>
          </a:xfrm>
          <a:prstGeom prst="homePlate">
            <a:avLst>
              <a:gd name="adj" fmla="val 50000"/>
            </a:avLst>
          </a:prstGeom>
          <a:noFill/>
          <a:ln w="127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</a:pPr>
            <a:r>
              <a:rPr lang="en-GB" sz="10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Leading to</a:t>
            </a:r>
            <a:endParaRPr sz="1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388360B-84DC-0C49-BB7C-95A7990DFA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375" y="3182701"/>
            <a:ext cx="3269409" cy="2100574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Google Shape;300;gc8cb26b754_0_168"/>
          <p:cNvSpPr/>
          <p:nvPr/>
        </p:nvSpPr>
        <p:spPr>
          <a:xfrm>
            <a:off x="-450" y="0"/>
            <a:ext cx="12192000" cy="3186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1" name="Google Shape;301;gc8cb26b754_0_168">
            <a:hlinkClick r:id="rId3"/>
          </p:cNvPr>
          <p:cNvPicPr preferRelativeResize="0"/>
          <p:nvPr/>
        </p:nvPicPr>
        <p:blipFill rotWithShape="1">
          <a:blip r:embed="rId4">
            <a:alphaModFix/>
          </a:blip>
          <a:srcRect l="20064" t="24458" r="22609" b="13084"/>
          <a:stretch/>
        </p:blipFill>
        <p:spPr>
          <a:xfrm>
            <a:off x="7315009" y="159025"/>
            <a:ext cx="4691816" cy="3026975"/>
          </a:xfrm>
          <a:prstGeom prst="rect">
            <a:avLst/>
          </a:prstGeom>
          <a:noFill/>
          <a:ln>
            <a:noFill/>
          </a:ln>
        </p:spPr>
      </p:pic>
      <p:pic>
        <p:nvPicPr>
          <p:cNvPr id="302" name="Google Shape;302;gc8cb26b754_0_168" descr="Graphical user interface, application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 b="11589"/>
          <a:stretch/>
        </p:blipFill>
        <p:spPr>
          <a:xfrm>
            <a:off x="8243845" y="673009"/>
            <a:ext cx="3098325" cy="1911050"/>
          </a:xfrm>
          <a:prstGeom prst="rect">
            <a:avLst/>
          </a:prstGeom>
          <a:noFill/>
          <a:ln>
            <a:noFill/>
          </a:ln>
        </p:spPr>
      </p:pic>
      <p:sp>
        <p:nvSpPr>
          <p:cNvPr id="303" name="Google Shape;303;gc8cb26b754_0_168"/>
          <p:cNvSpPr/>
          <p:nvPr/>
        </p:nvSpPr>
        <p:spPr>
          <a:xfrm>
            <a:off x="342050" y="3344391"/>
            <a:ext cx="3317100" cy="1607100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4" name="Google Shape;304;gc8cb26b754_0_168"/>
          <p:cNvSpPr txBox="1"/>
          <p:nvPr/>
        </p:nvSpPr>
        <p:spPr>
          <a:xfrm>
            <a:off x="1190477" y="3624591"/>
            <a:ext cx="2280000" cy="104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mpowers</a:t>
            </a: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the public to be self-sufficient and take control when dealing with the police</a:t>
            </a:r>
            <a:endParaRPr sz="1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5" name="Google Shape;305;gc8cb26b754_0_168"/>
          <p:cNvSpPr/>
          <p:nvPr/>
        </p:nvSpPr>
        <p:spPr>
          <a:xfrm>
            <a:off x="1944625" y="5080225"/>
            <a:ext cx="3669600" cy="1607100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6" name="Google Shape;306;gc8cb26b754_0_168"/>
          <p:cNvSpPr txBox="1"/>
          <p:nvPr/>
        </p:nvSpPr>
        <p:spPr>
          <a:xfrm>
            <a:off x="2800525" y="5279950"/>
            <a:ext cx="2565000" cy="126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s</a:t>
            </a: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future proofed, secure and scalable </a:t>
            </a: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with a site architecture that supports people to find the information and services they need fast</a:t>
            </a: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gc8cb26b754_0_168"/>
          <p:cNvSpPr/>
          <p:nvPr/>
        </p:nvSpPr>
        <p:spPr>
          <a:xfrm>
            <a:off x="3890875" y="3344400"/>
            <a:ext cx="3857400" cy="1607100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8" name="Google Shape;308;gc8cb26b754_0_168"/>
          <p:cNvSpPr/>
          <p:nvPr/>
        </p:nvSpPr>
        <p:spPr>
          <a:xfrm>
            <a:off x="5841050" y="5080225"/>
            <a:ext cx="3953700" cy="1607100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09" name="Google Shape;309;gc8cb26b754_0_168"/>
          <p:cNvSpPr txBox="1"/>
          <p:nvPr/>
        </p:nvSpPr>
        <p:spPr>
          <a:xfrm>
            <a:off x="4743563" y="3429348"/>
            <a:ext cx="2895900" cy="14772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ducates</a:t>
            </a: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the public about what services the police offer, via their channel of choice and signposts to third party services when more appropriate - reducing calls to 999/ 101</a:t>
            </a:r>
            <a:endParaRPr sz="1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0" name="Google Shape;310;gc8cb26b754_0_168"/>
          <p:cNvSpPr txBox="1"/>
          <p:nvPr/>
        </p:nvSpPr>
        <p:spPr>
          <a:xfrm>
            <a:off x="6875125" y="5252725"/>
            <a:ext cx="2726100" cy="1262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Gives the public </a:t>
            </a:r>
            <a:r>
              <a:rPr lang="en-GB" sz="14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ew ways to contact </a:t>
            </a: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the police, such as Social Media, that </a:t>
            </a:r>
            <a:r>
              <a:rPr lang="en-GB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re </a:t>
            </a: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ore relevant, convenient, richer and easier to manage for the police</a:t>
            </a:r>
            <a:endParaRPr sz="1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gc8cb26b754_0_168"/>
          <p:cNvSpPr txBox="1"/>
          <p:nvPr/>
        </p:nvSpPr>
        <p:spPr>
          <a:xfrm>
            <a:off x="382975" y="381000"/>
            <a:ext cx="5107800" cy="68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This is more than just a website...</a:t>
            </a: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2" name="Google Shape;312;gc8cb26b754_0_168"/>
          <p:cNvCxnSpPr/>
          <p:nvPr/>
        </p:nvCxnSpPr>
        <p:spPr>
          <a:xfrm>
            <a:off x="489642" y="915200"/>
            <a:ext cx="8607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13" name="Google Shape;313;gc8cb26b754_0_168"/>
          <p:cNvSpPr/>
          <p:nvPr/>
        </p:nvSpPr>
        <p:spPr>
          <a:xfrm>
            <a:off x="494450" y="1198500"/>
            <a:ext cx="5346600" cy="106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Single Online Home (SOH) provides a national web-based platform and aspires to be a digital front counter for the public, offering a broad range of online police service. 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lang="en-GB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On SOH people can access information, advice and services when and wherever they are for reporting a crime, applying for a licence and local crime information. It enables the public to do everything they can do through 101 online. </a:t>
            </a:r>
            <a:endParaRPr sz="14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14" name="Google Shape;314;gc8cb26b754_0_16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7590628" y="1623212"/>
            <a:ext cx="723807" cy="1286767"/>
          </a:xfrm>
          <a:prstGeom prst="rect">
            <a:avLst/>
          </a:prstGeom>
          <a:noFill/>
          <a:ln>
            <a:noFill/>
          </a:ln>
        </p:spPr>
      </p:pic>
      <p:pic>
        <p:nvPicPr>
          <p:cNvPr id="318" name="Google Shape;318;gc8cb26b754_0_16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513364" y="3848076"/>
            <a:ext cx="555811" cy="599730"/>
          </a:xfrm>
          <a:prstGeom prst="rect">
            <a:avLst/>
          </a:prstGeom>
          <a:noFill/>
          <a:ln>
            <a:noFill/>
          </a:ln>
        </p:spPr>
      </p:pic>
      <p:pic>
        <p:nvPicPr>
          <p:cNvPr id="319" name="Google Shape;319;gc8cb26b754_0_168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6100933" y="5605861"/>
            <a:ext cx="555811" cy="555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320" name="Google Shape;320;gc8cb26b754_0_16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073138" y="3870038"/>
            <a:ext cx="555825" cy="555806"/>
          </a:xfrm>
          <a:prstGeom prst="rect">
            <a:avLst/>
          </a:prstGeom>
          <a:noFill/>
          <a:ln>
            <a:noFill/>
          </a:ln>
        </p:spPr>
      </p:pic>
      <p:pic>
        <p:nvPicPr>
          <p:cNvPr id="321" name="Google Shape;321;gc8cb26b754_0_168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2163913" y="5573363"/>
            <a:ext cx="459875" cy="4598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Google Shape;327;gc8f01afe22_0_140"/>
          <p:cNvSpPr/>
          <p:nvPr/>
        </p:nvSpPr>
        <p:spPr>
          <a:xfrm>
            <a:off x="6007600" y="1137075"/>
            <a:ext cx="6184500" cy="5720700"/>
          </a:xfrm>
          <a:prstGeom prst="rect">
            <a:avLst/>
          </a:prstGeom>
          <a:solidFill>
            <a:srgbClr val="1F5F9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" name="Google Shape;328;gc8f01afe22_0_140"/>
          <p:cNvSpPr/>
          <p:nvPr/>
        </p:nvSpPr>
        <p:spPr>
          <a:xfrm>
            <a:off x="0" y="1137075"/>
            <a:ext cx="6087900" cy="5720700"/>
          </a:xfrm>
          <a:prstGeom prst="rect">
            <a:avLst/>
          </a:prstGeom>
          <a:solidFill>
            <a:srgbClr val="2E75B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9" name="Google Shape;329;gc8f01afe22_0_140"/>
          <p:cNvSpPr/>
          <p:nvPr/>
        </p:nvSpPr>
        <p:spPr>
          <a:xfrm>
            <a:off x="25" y="375"/>
            <a:ext cx="12192000" cy="11367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30" name="Google Shape;330;gc8f01afe22_0_14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04967" y="205618"/>
            <a:ext cx="1276100" cy="4923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31" name="Google Shape;331;gc8f01afe22_0_14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319400" y="2129067"/>
            <a:ext cx="3553200" cy="4202118"/>
          </a:xfrm>
          <a:prstGeom prst="rect">
            <a:avLst/>
          </a:prstGeom>
          <a:noFill/>
          <a:ln>
            <a:noFill/>
          </a:ln>
          <a:effectLst>
            <a:outerShdw blurRad="57150" dist="19050" dir="5400000" algn="bl" rotWithShape="0">
              <a:srgbClr val="000000">
                <a:alpha val="49411"/>
              </a:srgbClr>
            </a:outerShdw>
          </a:effectLst>
        </p:spPr>
      </p:pic>
      <p:sp>
        <p:nvSpPr>
          <p:cNvPr id="332" name="Google Shape;332;gc8f01afe22_0_140"/>
          <p:cNvSpPr txBox="1"/>
          <p:nvPr/>
        </p:nvSpPr>
        <p:spPr>
          <a:xfrm>
            <a:off x="415025" y="1398977"/>
            <a:ext cx="36384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ocal services &amp; content</a:t>
            </a:r>
            <a:endParaRPr sz="2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9DC3E6"/>
                </a:solidFill>
                <a:latin typeface="Calibri"/>
                <a:ea typeface="Calibri"/>
                <a:cs typeface="Calibri"/>
                <a:sym typeface="Calibri"/>
              </a:rPr>
              <a:t>[Supplied by each force, ADR &amp; Police UK]</a:t>
            </a:r>
            <a:endParaRPr sz="1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3" name="Google Shape;333;gc8f01afe22_0_140"/>
          <p:cNvSpPr txBox="1"/>
          <p:nvPr/>
        </p:nvSpPr>
        <p:spPr>
          <a:xfrm>
            <a:off x="415033" y="2621069"/>
            <a:ext cx="25545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ocal identity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33"/>
              <a:buFont typeface="Arial"/>
              <a:buNone/>
            </a:pPr>
            <a:r>
              <a:rPr lang="en-GB" sz="1333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ogo, homepage image, etc</a:t>
            </a:r>
            <a:endParaRPr sz="2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34" name="Google Shape;334;gc8f01afe22_0_140"/>
          <p:cNvCxnSpPr/>
          <p:nvPr/>
        </p:nvCxnSpPr>
        <p:spPr>
          <a:xfrm>
            <a:off x="2345635" y="2902233"/>
            <a:ext cx="227970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35" name="Google Shape;335;gc8f01afe22_0_140"/>
          <p:cNvSpPr txBox="1"/>
          <p:nvPr/>
        </p:nvSpPr>
        <p:spPr>
          <a:xfrm>
            <a:off x="415033" y="4262595"/>
            <a:ext cx="25545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My local area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gc8f01afe22_0_140"/>
          <p:cNvSpPr txBox="1"/>
          <p:nvPr/>
        </p:nvSpPr>
        <p:spPr>
          <a:xfrm>
            <a:off x="415033" y="4910703"/>
            <a:ext cx="25545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Local news and campaign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37" name="Google Shape;337;gc8f01afe22_0_140"/>
          <p:cNvCxnSpPr/>
          <p:nvPr/>
        </p:nvCxnSpPr>
        <p:spPr>
          <a:xfrm>
            <a:off x="2554357" y="5180728"/>
            <a:ext cx="207090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38" name="Google Shape;338;gc8f01afe22_0_140"/>
          <p:cNvSpPr txBox="1"/>
          <p:nvPr/>
        </p:nvSpPr>
        <p:spPr>
          <a:xfrm>
            <a:off x="415033" y="5825211"/>
            <a:ext cx="2554500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bout u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39" name="Google Shape;339;gc8f01afe22_0_140"/>
          <p:cNvCxnSpPr/>
          <p:nvPr/>
        </p:nvCxnSpPr>
        <p:spPr>
          <a:xfrm>
            <a:off x="1898374" y="6153257"/>
            <a:ext cx="272700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40" name="Google Shape;340;gc8f01afe22_0_140"/>
          <p:cNvSpPr txBox="1"/>
          <p:nvPr/>
        </p:nvSpPr>
        <p:spPr>
          <a:xfrm>
            <a:off x="415033" y="3588088"/>
            <a:ext cx="2554500" cy="55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areer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" name="Google Shape;341;gc8f01afe22_0_140"/>
          <p:cNvSpPr/>
          <p:nvPr/>
        </p:nvSpPr>
        <p:spPr>
          <a:xfrm>
            <a:off x="1582600" y="3327867"/>
            <a:ext cx="4505520" cy="577899"/>
          </a:xfrm>
          <a:custGeom>
            <a:avLst/>
            <a:gdLst/>
            <a:ahLst/>
            <a:cxnLst/>
            <a:rect l="l" t="t" r="r" b="b"/>
            <a:pathLst>
              <a:path w="138845" h="14674" extrusionOk="0">
                <a:moveTo>
                  <a:pt x="138845" y="0"/>
                </a:moveTo>
                <a:lnTo>
                  <a:pt x="93117" y="14674"/>
                </a:lnTo>
                <a:lnTo>
                  <a:pt x="0" y="14674"/>
                </a:lnTo>
              </a:path>
            </a:pathLst>
          </a:custGeom>
          <a:noFill/>
          <a:ln w="19050" cap="flat" cmpd="sng">
            <a:solidFill>
              <a:srgbClr val="9DC3E6"/>
            </a:solidFill>
            <a:prstDash val="solid"/>
            <a:round/>
            <a:headEnd type="oval" w="lg" len="lg"/>
            <a:tailEnd type="none" w="sm" len="sm"/>
          </a:ln>
        </p:spPr>
      </p:sp>
      <p:sp>
        <p:nvSpPr>
          <p:cNvPr id="342" name="Google Shape;342;gc8f01afe22_0_140"/>
          <p:cNvSpPr/>
          <p:nvPr/>
        </p:nvSpPr>
        <p:spPr>
          <a:xfrm>
            <a:off x="2345635" y="4037832"/>
            <a:ext cx="2856197" cy="524814"/>
          </a:xfrm>
          <a:custGeom>
            <a:avLst/>
            <a:gdLst/>
            <a:ahLst/>
            <a:cxnLst/>
            <a:rect l="l" t="t" r="r" b="b"/>
            <a:pathLst>
              <a:path w="95693" h="13800" extrusionOk="0">
                <a:moveTo>
                  <a:pt x="95693" y="0"/>
                </a:moveTo>
                <a:lnTo>
                  <a:pt x="56680" y="13800"/>
                </a:lnTo>
                <a:lnTo>
                  <a:pt x="0" y="13618"/>
                </a:lnTo>
              </a:path>
            </a:pathLst>
          </a:custGeom>
          <a:noFill/>
          <a:ln w="19050" cap="flat" cmpd="sng">
            <a:solidFill>
              <a:srgbClr val="9DC3E6"/>
            </a:solidFill>
            <a:prstDash val="solid"/>
            <a:round/>
            <a:headEnd type="oval" w="lg" len="lg"/>
            <a:tailEnd type="none" w="sm" len="sm"/>
          </a:ln>
        </p:spPr>
      </p:sp>
      <p:sp>
        <p:nvSpPr>
          <p:cNvPr id="343" name="Google Shape;343;gc8f01afe22_0_140"/>
          <p:cNvSpPr txBox="1"/>
          <p:nvPr/>
        </p:nvSpPr>
        <p:spPr>
          <a:xfrm>
            <a:off x="6449200" y="1398967"/>
            <a:ext cx="5336100" cy="6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ational services &amp; content</a:t>
            </a:r>
            <a:endParaRPr sz="2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9DC3E6"/>
                </a:solidFill>
                <a:latin typeface="Calibri"/>
                <a:ea typeface="Calibri"/>
                <a:cs typeface="Calibri"/>
                <a:sym typeface="Calibri"/>
              </a:rPr>
              <a:t>[Managed centrally]</a:t>
            </a:r>
            <a:endParaRPr sz="1400" b="0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4" name="Google Shape;344;gc8f01afe22_0_140"/>
          <p:cNvSpPr txBox="1"/>
          <p:nvPr/>
        </p:nvSpPr>
        <p:spPr>
          <a:xfrm>
            <a:off x="9231100" y="3052007"/>
            <a:ext cx="25545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ational service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Crime reporting, RTI, etc</a:t>
            </a: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45" name="Google Shape;345;gc8f01afe22_0_140"/>
          <p:cNvCxnSpPr/>
          <p:nvPr/>
        </p:nvCxnSpPr>
        <p:spPr>
          <a:xfrm rot="10800000">
            <a:off x="7061022" y="3327885"/>
            <a:ext cx="2291700" cy="2160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46" name="Google Shape;346;gc8f01afe22_0_140"/>
          <p:cNvSpPr txBox="1"/>
          <p:nvPr/>
        </p:nvSpPr>
        <p:spPr>
          <a:xfrm>
            <a:off x="8557700" y="3989825"/>
            <a:ext cx="32280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Advice and information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eg How to apply, Crime prevention etc.</a:t>
            </a:r>
            <a:endParaRPr sz="14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gc8f01afe22_0_140"/>
          <p:cNvSpPr/>
          <p:nvPr/>
        </p:nvSpPr>
        <p:spPr>
          <a:xfrm>
            <a:off x="7474834" y="4241167"/>
            <a:ext cx="1726390" cy="459989"/>
          </a:xfrm>
          <a:custGeom>
            <a:avLst/>
            <a:gdLst/>
            <a:ahLst/>
            <a:cxnLst/>
            <a:rect l="l" t="t" r="r" b="b"/>
            <a:pathLst>
              <a:path w="51793" h="13800" extrusionOk="0">
                <a:moveTo>
                  <a:pt x="0" y="13800"/>
                </a:moveTo>
                <a:lnTo>
                  <a:pt x="21758" y="0"/>
                </a:lnTo>
                <a:lnTo>
                  <a:pt x="51793" y="53"/>
                </a:lnTo>
              </a:path>
            </a:pathLst>
          </a:custGeom>
          <a:noFill/>
          <a:ln w="19050" cap="flat" cmpd="sng">
            <a:solidFill>
              <a:srgbClr val="9DC3E6"/>
            </a:solidFill>
            <a:prstDash val="solid"/>
            <a:round/>
            <a:headEnd type="oval" w="lg" len="lg"/>
            <a:tailEnd type="none" w="sm" len="sm"/>
          </a:ln>
        </p:spPr>
      </p:sp>
      <p:sp>
        <p:nvSpPr>
          <p:cNvPr id="348" name="Google Shape;348;gc8f01afe22_0_140"/>
          <p:cNvSpPr txBox="1"/>
          <p:nvPr/>
        </p:nvSpPr>
        <p:spPr>
          <a:xfrm>
            <a:off x="9231200" y="4781992"/>
            <a:ext cx="25545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National news and campaign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49" name="Google Shape;349;gc8f01afe22_0_140"/>
          <p:cNvCxnSpPr/>
          <p:nvPr/>
        </p:nvCxnSpPr>
        <p:spPr>
          <a:xfrm rot="10800000">
            <a:off x="7474800" y="5094589"/>
            <a:ext cx="216810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50" name="Google Shape;350;gc8f01afe22_0_140"/>
          <p:cNvSpPr txBox="1"/>
          <p:nvPr/>
        </p:nvSpPr>
        <p:spPr>
          <a:xfrm>
            <a:off x="9146700" y="5734547"/>
            <a:ext cx="2639100" cy="7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n-GB" sz="2000" b="1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ational stats and publications</a:t>
            </a:r>
            <a:endParaRPr sz="2000" b="1" i="0" u="none" strike="noStrike" cap="none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51" name="Google Shape;351;gc8f01afe22_0_140"/>
          <p:cNvCxnSpPr/>
          <p:nvPr/>
        </p:nvCxnSpPr>
        <p:spPr>
          <a:xfrm rot="10800000">
            <a:off x="7508367" y="6013951"/>
            <a:ext cx="169290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sp>
        <p:nvSpPr>
          <p:cNvPr id="353" name="Google Shape;353;gc8f01afe22_0_140"/>
          <p:cNvSpPr txBox="1"/>
          <p:nvPr/>
        </p:nvSpPr>
        <p:spPr>
          <a:xfrm>
            <a:off x="382975" y="381000"/>
            <a:ext cx="5107800" cy="68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2000" b="1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SOH-Full: Local identity, national consistency</a:t>
            </a:r>
            <a:endParaRPr sz="2000" b="1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54" name="Google Shape;354;gc8f01afe22_0_140"/>
          <p:cNvCxnSpPr/>
          <p:nvPr/>
        </p:nvCxnSpPr>
        <p:spPr>
          <a:xfrm>
            <a:off x="489642" y="915200"/>
            <a:ext cx="8607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0" name="Google Shape;343;gc8f01afe22_0_140">
            <a:extLst>
              <a:ext uri="{FF2B5EF4-FFF2-40B4-BE49-F238E27FC236}">
                <a16:creationId xmlns:a16="http://schemas.microsoft.com/office/drawing/2014/main" id="{9105DEEA-7EC6-8943-940C-BD0820828A34}"/>
              </a:ext>
            </a:extLst>
          </p:cNvPr>
          <p:cNvSpPr txBox="1"/>
          <p:nvPr/>
        </p:nvSpPr>
        <p:spPr>
          <a:xfrm>
            <a:off x="6458720" y="2208599"/>
            <a:ext cx="5336100" cy="6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GB" sz="2000" b="1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National Steering Group</a:t>
            </a:r>
            <a:endParaRPr sz="2000" b="1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i="0" u="none" strike="noStrike" cap="none" dirty="0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rPr>
              <a:t>Working with all SOH Forces to develop Services</a:t>
            </a:r>
            <a:endParaRPr sz="1400" i="0" u="none" strike="noStrike" cap="none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1" name="Google Shape;345;gc8f01afe22_0_140">
            <a:extLst>
              <a:ext uri="{FF2B5EF4-FFF2-40B4-BE49-F238E27FC236}">
                <a16:creationId xmlns:a16="http://schemas.microsoft.com/office/drawing/2014/main" id="{DBCF09D2-6043-9947-87A5-6C64B906A937}"/>
              </a:ext>
            </a:extLst>
          </p:cNvPr>
          <p:cNvCxnSpPr>
            <a:cxnSpLocks/>
          </p:cNvCxnSpPr>
          <p:nvPr/>
        </p:nvCxnSpPr>
        <p:spPr>
          <a:xfrm flipH="1">
            <a:off x="6594802" y="2565806"/>
            <a:ext cx="1552248" cy="772879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oval" w="lg" len="lg"/>
          </a:ln>
        </p:spPr>
      </p:cxnSp>
      <p:cxnSp>
        <p:nvCxnSpPr>
          <p:cNvPr id="33" name="Google Shape;349;gc8f01afe22_0_140">
            <a:extLst>
              <a:ext uri="{FF2B5EF4-FFF2-40B4-BE49-F238E27FC236}">
                <a16:creationId xmlns:a16="http://schemas.microsoft.com/office/drawing/2014/main" id="{72E2FAA8-F98F-DB46-903D-CBC5659E21B5}"/>
              </a:ext>
            </a:extLst>
          </p:cNvPr>
          <p:cNvCxnSpPr>
            <a:cxnSpLocks/>
          </p:cNvCxnSpPr>
          <p:nvPr/>
        </p:nvCxnSpPr>
        <p:spPr>
          <a:xfrm flipH="1">
            <a:off x="8147050" y="2568871"/>
            <a:ext cx="410650" cy="0"/>
          </a:xfrm>
          <a:prstGeom prst="straightConnector1">
            <a:avLst/>
          </a:prstGeom>
          <a:noFill/>
          <a:ln w="19050" cap="flat" cmpd="sng">
            <a:solidFill>
              <a:srgbClr val="9DC3E6"/>
            </a:solidFill>
            <a:prstDash val="solid"/>
            <a:round/>
            <a:headEnd type="none" w="sm" len="sm"/>
            <a:tailEnd type="none" w="lg" len="lg"/>
          </a:ln>
        </p:spPr>
      </p:cxn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Google Shape;435;gc8f01afe22_0_302"/>
          <p:cNvSpPr/>
          <p:nvPr/>
        </p:nvSpPr>
        <p:spPr>
          <a:xfrm>
            <a:off x="-450" y="0"/>
            <a:ext cx="12192000" cy="23448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36" name="Google Shape;436;gc8f01afe22_0_30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04967" y="205618"/>
            <a:ext cx="1276100" cy="492300"/>
          </a:xfrm>
          <a:prstGeom prst="rect">
            <a:avLst/>
          </a:prstGeom>
          <a:noFill/>
          <a:ln>
            <a:noFill/>
          </a:ln>
        </p:spPr>
      </p:pic>
      <p:sp>
        <p:nvSpPr>
          <p:cNvPr id="437" name="Google Shape;437;gc8f01afe22_0_302"/>
          <p:cNvSpPr txBox="1"/>
          <p:nvPr/>
        </p:nvSpPr>
        <p:spPr>
          <a:xfrm>
            <a:off x="382975" y="381000"/>
            <a:ext cx="6415800" cy="68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2000" b="1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Wh</a:t>
            </a:r>
            <a:r>
              <a:rPr lang="en-GB" sz="2000" b="1" i="0" u="none" strike="noStrike" cap="none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y SOH – benefits to Public and Police</a:t>
            </a: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38" name="Google Shape;438;gc8f01afe22_0_302"/>
          <p:cNvCxnSpPr/>
          <p:nvPr/>
        </p:nvCxnSpPr>
        <p:spPr>
          <a:xfrm>
            <a:off x="489642" y="915200"/>
            <a:ext cx="8607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39" name="Google Shape;439;gc8f01afe22_0_302"/>
          <p:cNvSpPr/>
          <p:nvPr/>
        </p:nvSpPr>
        <p:spPr>
          <a:xfrm>
            <a:off x="494450" y="1198500"/>
            <a:ext cx="8981100" cy="116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GB" sz="1400" b="1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DPC Impact Team analysis showed that SOH has a positive impact for both the public and police forces.</a:t>
            </a:r>
            <a:endParaRPr sz="1400" b="1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A study completed in July 2020 showed a range of benefits for public and police forces alike. For example, the public have improved access to the police via a platform which directed them to the right resource or form. Meanwhile, forces can benefit from a channel shift and SOH assisting in managing incoming contacts and demand.</a:t>
            </a:r>
            <a:endParaRPr sz="14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gc8f01afe22_0_302"/>
          <p:cNvSpPr/>
          <p:nvPr/>
        </p:nvSpPr>
        <p:spPr>
          <a:xfrm>
            <a:off x="636650" y="2944125"/>
            <a:ext cx="4581900" cy="621300"/>
          </a:xfrm>
          <a:prstGeom prst="roundRect">
            <a:avLst>
              <a:gd name="adj" fmla="val 16667"/>
            </a:avLst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elping communities make informed decision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1" name="Google Shape;441;gc8f01afe22_0_302"/>
          <p:cNvSpPr txBox="1"/>
          <p:nvPr/>
        </p:nvSpPr>
        <p:spPr>
          <a:xfrm>
            <a:off x="636638" y="2298078"/>
            <a:ext cx="1769700" cy="7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C69"/>
              </a:buClr>
              <a:buSzPts val="2000"/>
              <a:buFont typeface="Calibri"/>
              <a:buNone/>
            </a:pPr>
            <a:r>
              <a:rPr lang="en-GB" sz="2000" b="1" i="0" u="none" strike="noStrike" cap="none" dirty="0">
                <a:solidFill>
                  <a:srgbClr val="003C69"/>
                </a:solidFill>
                <a:latin typeface="Calibri"/>
                <a:ea typeface="Calibri"/>
                <a:cs typeface="Calibri"/>
                <a:sym typeface="Calibri"/>
              </a:rPr>
              <a:t>For the Public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2" name="Google Shape;442;gc8f01afe22_0_302"/>
          <p:cNvSpPr txBox="1"/>
          <p:nvPr/>
        </p:nvSpPr>
        <p:spPr>
          <a:xfrm>
            <a:off x="6105832" y="2293784"/>
            <a:ext cx="1769700" cy="7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C69"/>
              </a:buClr>
              <a:buSzPts val="2000"/>
              <a:buFont typeface="Calibri"/>
              <a:buNone/>
            </a:pPr>
            <a:r>
              <a:rPr lang="en-GB" sz="2000" b="1" i="0" u="none" strike="noStrike" cap="none" dirty="0">
                <a:solidFill>
                  <a:srgbClr val="003C69"/>
                </a:solidFill>
                <a:latin typeface="Calibri"/>
                <a:ea typeface="Calibri"/>
                <a:cs typeface="Calibri"/>
                <a:sym typeface="Calibri"/>
              </a:rPr>
              <a:t>For the For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3" name="Google Shape;443;gc8f01afe22_0_302"/>
          <p:cNvSpPr/>
          <p:nvPr/>
        </p:nvSpPr>
        <p:spPr>
          <a:xfrm>
            <a:off x="636651" y="3619444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Locally-relevant stats and dat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4" name="Google Shape;444;gc8f01afe22_0_302"/>
          <p:cNvSpPr/>
          <p:nvPr/>
        </p:nvSpPr>
        <p:spPr>
          <a:xfrm>
            <a:off x="2957056" y="3632159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rime-prevention, advice and informatio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5" name="Google Shape;445;gc8f01afe22_0_302"/>
          <p:cNvSpPr/>
          <p:nvPr/>
        </p:nvSpPr>
        <p:spPr>
          <a:xfrm>
            <a:off x="636650" y="4307475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Social media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6" name="Google Shape;446;gc8f01afe22_0_302"/>
          <p:cNvSpPr/>
          <p:nvPr/>
        </p:nvSpPr>
        <p:spPr>
          <a:xfrm>
            <a:off x="2957054" y="4320189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ampaigns &amp; new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7" name="Google Shape;447;gc8f01afe22_0_302"/>
          <p:cNvSpPr/>
          <p:nvPr/>
        </p:nvSpPr>
        <p:spPr>
          <a:xfrm>
            <a:off x="636650" y="4992747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ommunity surve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8" name="Google Shape;448;gc8f01afe22_0_302"/>
          <p:cNvSpPr/>
          <p:nvPr/>
        </p:nvSpPr>
        <p:spPr>
          <a:xfrm>
            <a:off x="2957054" y="5005462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More choi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9" name="Google Shape;449;gc8f01afe22_0_302"/>
          <p:cNvSpPr/>
          <p:nvPr/>
        </p:nvSpPr>
        <p:spPr>
          <a:xfrm>
            <a:off x="636650" y="5673573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Giving feedback on the service they’ve received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0" name="Google Shape;450;gc8f01afe22_0_302"/>
          <p:cNvSpPr/>
          <p:nvPr/>
        </p:nvSpPr>
        <p:spPr>
          <a:xfrm>
            <a:off x="2957054" y="5686288"/>
            <a:ext cx="2261400" cy="6084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70C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Freedom of Information databas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1" name="Google Shape;451;gc8f01afe22_0_302"/>
          <p:cNvSpPr/>
          <p:nvPr/>
        </p:nvSpPr>
        <p:spPr>
          <a:xfrm>
            <a:off x="6203205" y="2946886"/>
            <a:ext cx="4581900" cy="621300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GB" sz="1600" b="0" i="0" u="none" strike="noStrike" cap="none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vention, Effectiveness, Efficiency, Legitimacy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2" name="Google Shape;452;gc8f01afe22_0_302"/>
          <p:cNvSpPr/>
          <p:nvPr/>
        </p:nvSpPr>
        <p:spPr>
          <a:xfrm>
            <a:off x="6203206" y="3619444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Future digital front counter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3" name="Google Shape;453;gc8f01afe22_0_302"/>
          <p:cNvSpPr/>
          <p:nvPr/>
        </p:nvSpPr>
        <p:spPr>
          <a:xfrm>
            <a:off x="8523610" y="3632159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Self Servi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4" name="Google Shape;454;gc8f01afe22_0_302"/>
          <p:cNvSpPr/>
          <p:nvPr/>
        </p:nvSpPr>
        <p:spPr>
          <a:xfrm>
            <a:off x="6203205" y="4307475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Nationally consistent processes and system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5" name="Google Shape;455;gc8f01afe22_0_302"/>
          <p:cNvSpPr/>
          <p:nvPr/>
        </p:nvSpPr>
        <p:spPr>
          <a:xfrm>
            <a:off x="8523609" y="4320189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Prioritising critical incident respons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6" name="Google Shape;456;gc8f01afe22_0_302"/>
          <p:cNvSpPr/>
          <p:nvPr/>
        </p:nvSpPr>
        <p:spPr>
          <a:xfrm>
            <a:off x="6203205" y="4992747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duced calls and fewer station visits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7" name="Google Shape;457;gc8f01afe22_0_302"/>
          <p:cNvSpPr/>
          <p:nvPr/>
        </p:nvSpPr>
        <p:spPr>
          <a:xfrm>
            <a:off x="8523609" y="5005462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Reduction in duplication and effort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8" name="Google Shape;458;gc8f01afe22_0_302"/>
          <p:cNvSpPr/>
          <p:nvPr/>
        </p:nvSpPr>
        <p:spPr>
          <a:xfrm>
            <a:off x="6203205" y="5673573"/>
            <a:ext cx="2261400" cy="6213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Better information in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9" name="Google Shape;459;gc8f01afe22_0_302"/>
          <p:cNvSpPr/>
          <p:nvPr/>
        </p:nvSpPr>
        <p:spPr>
          <a:xfrm>
            <a:off x="8523609" y="5686288"/>
            <a:ext cx="2261400" cy="60840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0B0F0"/>
                </a:solidFill>
                <a:latin typeface="Calibri"/>
                <a:ea typeface="Calibri"/>
                <a:cs typeface="Calibri"/>
                <a:sym typeface="Calibri"/>
              </a:rPr>
              <a:t>Data ready to pass on and output is evidence</a:t>
            </a: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60" name="Google Shape;460;gc8f01afe22_0_302"/>
          <p:cNvSpPr/>
          <p:nvPr/>
        </p:nvSpPr>
        <p:spPr>
          <a:xfrm>
            <a:off x="507150" y="6498425"/>
            <a:ext cx="11177700" cy="33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400" b="0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e SOH Services and our force delivery models are constantly being improved and evolved to best meet the needs of forces and the public.</a:t>
            </a:r>
            <a:endParaRPr sz="1400" b="0" i="1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gc9635784e9_0_0"/>
          <p:cNvSpPr/>
          <p:nvPr/>
        </p:nvSpPr>
        <p:spPr>
          <a:xfrm>
            <a:off x="-450" y="-231000"/>
            <a:ext cx="12192000" cy="1611000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11" name="Google Shape;711;gc9635784e9_0_0"/>
          <p:cNvSpPr/>
          <p:nvPr/>
        </p:nvSpPr>
        <p:spPr>
          <a:xfrm>
            <a:off x="494450" y="1046100"/>
            <a:ext cx="8981100" cy="33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4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SOH includes a comprehensive and expanding portfolio of services, developed in consultation with National Police forces</a:t>
            </a:r>
            <a:endParaRPr sz="14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Google Shape;712;gc9635784e9_0_0"/>
          <p:cNvSpPr txBox="1"/>
          <p:nvPr/>
        </p:nvSpPr>
        <p:spPr>
          <a:xfrm>
            <a:off x="382975" y="381000"/>
            <a:ext cx="6415800" cy="68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2000" b="1" i="0" u="none" strike="noStrike" cap="none" dirty="0">
                <a:solidFill>
                  <a:srgbClr val="002C4E"/>
                </a:solidFill>
                <a:latin typeface="Calibri"/>
                <a:ea typeface="Calibri"/>
                <a:cs typeface="Calibri"/>
                <a:sym typeface="Calibri"/>
              </a:rPr>
              <a:t>Services Overview</a:t>
            </a:r>
            <a:endParaRPr sz="2000" b="1" i="0" u="none" strike="noStrike" cap="none" dirty="0">
              <a:solidFill>
                <a:srgbClr val="002C4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13" name="Google Shape;713;gc9635784e9_0_0"/>
          <p:cNvCxnSpPr/>
          <p:nvPr/>
        </p:nvCxnSpPr>
        <p:spPr>
          <a:xfrm>
            <a:off x="489642" y="915200"/>
            <a:ext cx="860700" cy="0"/>
          </a:xfrm>
          <a:prstGeom prst="straightConnector1">
            <a:avLst/>
          </a:prstGeom>
          <a:noFill/>
          <a:ln w="38100" cap="flat" cmpd="sng">
            <a:solidFill>
              <a:srgbClr val="77C0E1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714" name="Google Shape;714;gc9635784e9_0_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704967" y="205618"/>
            <a:ext cx="1276100" cy="492300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gc9635784e9_0_0"/>
          <p:cNvSpPr txBox="1"/>
          <p:nvPr/>
        </p:nvSpPr>
        <p:spPr>
          <a:xfrm>
            <a:off x="528202" y="1524693"/>
            <a:ext cx="2493297" cy="3231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79999" marR="0" lvl="0" indent="-17999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7C0E1"/>
              </a:buClr>
              <a:buSzPts val="1600"/>
              <a:buFont typeface="Calibri"/>
              <a:buChar char="•"/>
            </a:pPr>
            <a:r>
              <a:rPr lang="en-GB" sz="12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Covid-19 reporting and Domestic Abuse were as a result of emergence of national public safety requirements.</a:t>
            </a:r>
            <a:endParaRPr sz="11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179999" marR="0" lvl="0" indent="-179999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7C0E1"/>
              </a:buClr>
              <a:buSzPts val="1600"/>
              <a:buFont typeface="Calibri"/>
              <a:buChar char="•"/>
            </a:pPr>
            <a:r>
              <a:rPr lang="en-GB" sz="12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embership of the National Steering Group enables all Forces to participate in the </a:t>
            </a:r>
            <a:r>
              <a:rPr lang="en-GB" sz="1200" dirty="0">
                <a:latin typeface="Calibri"/>
                <a:cs typeface="Calibri"/>
                <a:sym typeface="Calibri"/>
              </a:rPr>
              <a:t>evolution of the platform</a:t>
            </a:r>
          </a:p>
          <a:p>
            <a:pPr marL="179999" lvl="0" indent="-179999">
              <a:buClr>
                <a:srgbClr val="77C0E1"/>
              </a:buClr>
              <a:buSzPts val="1600"/>
              <a:buFont typeface="Calibri"/>
              <a:buChar char="•"/>
            </a:pPr>
            <a:r>
              <a:rPr lang="en-GB" sz="1200" dirty="0">
                <a:latin typeface="Calibri"/>
                <a:cs typeface="Calibri"/>
                <a:sym typeface="Calibri"/>
              </a:rPr>
              <a:t>All services are subject to continuous improvement </a:t>
            </a:r>
            <a:r>
              <a:rPr lang="en-GB" sz="1200" dirty="0">
                <a:latin typeface="Calibri"/>
                <a:ea typeface="Calibri"/>
                <a:cs typeface="Calibri"/>
                <a:sym typeface="Calibri"/>
              </a:rPr>
              <a:t>in line with force requirements and governmental or legislative changes </a:t>
            </a:r>
            <a:r>
              <a:rPr lang="en-GB" sz="1200" dirty="0">
                <a:latin typeface="Calibri"/>
                <a:cs typeface="Calibri"/>
                <a:sym typeface="Calibri"/>
              </a:rPr>
              <a:t>to further develop the service e.g. RTI, FAL, ASB and OCR, all of which have new versions in the pipeline</a:t>
            </a:r>
            <a:endParaRPr sz="1200" dirty="0">
              <a:latin typeface="Calibri"/>
              <a:cs typeface="Calibri"/>
              <a:sym typeface="Calibri"/>
            </a:endParaRPr>
          </a:p>
          <a:p>
            <a:pPr marL="285750" marR="0" lvl="0" indent="-1841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200" b="0" i="0" u="none" strike="noStrike" cap="none" dirty="0">
              <a:solidFill>
                <a:srgbClr val="000000"/>
              </a:solidFill>
              <a:highlight>
                <a:srgbClr val="FFFF00"/>
              </a:highlight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310EE882-A30E-9C43-B556-908C6A36589B}"/>
              </a:ext>
            </a:extLst>
          </p:cNvPr>
          <p:cNvSpPr/>
          <p:nvPr/>
        </p:nvSpPr>
        <p:spPr>
          <a:xfrm>
            <a:off x="3680022" y="1983080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ovid Reporting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BF3426FE-0016-EB4E-8A2F-D8B77706368F}"/>
              </a:ext>
            </a:extLst>
          </p:cNvPr>
          <p:cNvSpPr/>
          <p:nvPr/>
        </p:nvSpPr>
        <p:spPr>
          <a:xfrm>
            <a:off x="3680022" y="344091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On-line Crime Reporting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EE539FD0-11F6-D84C-BA0E-5A69416FFA95}"/>
              </a:ext>
            </a:extLst>
          </p:cNvPr>
          <p:cNvSpPr/>
          <p:nvPr/>
        </p:nvSpPr>
        <p:spPr>
          <a:xfrm>
            <a:off x="4453882" y="5699085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Bribery &amp; corruption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09ACED6C-C819-FE42-A052-5DDCF39FC0B8}"/>
              </a:ext>
            </a:extLst>
          </p:cNvPr>
          <p:cNvSpPr/>
          <p:nvPr/>
        </p:nvSpPr>
        <p:spPr>
          <a:xfrm>
            <a:off x="3680022" y="417141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RTI</a:t>
            </a:r>
          </a:p>
          <a:p>
            <a:pPr algn="ctr"/>
            <a:r>
              <a:rPr lang="en-US" sz="600" dirty="0"/>
              <a:t>Reporting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821041F0-3DBE-5947-BA8E-FE8A017D8A9C}"/>
              </a:ext>
            </a:extLst>
          </p:cNvPr>
          <p:cNvSpPr/>
          <p:nvPr/>
        </p:nvSpPr>
        <p:spPr>
          <a:xfrm>
            <a:off x="3680022" y="271041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ASB</a:t>
            </a:r>
          </a:p>
          <a:p>
            <a:pPr algn="ctr"/>
            <a:r>
              <a:rPr lang="en-US" sz="600" dirty="0"/>
              <a:t>Repor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335F70-D44C-5C4B-9E5B-B79B04123E93}"/>
              </a:ext>
            </a:extLst>
          </p:cNvPr>
          <p:cNvSpPr txBox="1"/>
          <p:nvPr/>
        </p:nvSpPr>
        <p:spPr>
          <a:xfrm>
            <a:off x="4113109" y="1656758"/>
            <a:ext cx="60785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Repor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8A3FFD6-F172-C44B-B3FB-3882DD41D9FD}"/>
              </a:ext>
            </a:extLst>
          </p:cNvPr>
          <p:cNvSpPr txBox="1"/>
          <p:nvPr/>
        </p:nvSpPr>
        <p:spPr>
          <a:xfrm rot="16200000">
            <a:off x="2508199" y="3392951"/>
            <a:ext cx="170271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ervices on the platform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BDFF440-EF9F-BE47-9A3C-A4B11E22F497}"/>
              </a:ext>
            </a:extLst>
          </p:cNvPr>
          <p:cNvSpPr txBox="1"/>
          <p:nvPr/>
        </p:nvSpPr>
        <p:spPr>
          <a:xfrm>
            <a:off x="5362793" y="1572120"/>
            <a:ext cx="601447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Tell us</a:t>
            </a:r>
          </a:p>
          <a:p>
            <a:pPr algn="ctr"/>
            <a:r>
              <a:rPr lang="en-US" sz="1100" dirty="0"/>
              <a:t>about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46C5414-96CE-C94A-B2BE-4BF48E288E0B}"/>
              </a:ext>
            </a:extLst>
          </p:cNvPr>
          <p:cNvSpPr/>
          <p:nvPr/>
        </p:nvSpPr>
        <p:spPr>
          <a:xfrm>
            <a:off x="5305580" y="1980703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Possible terrorist activity</a:t>
            </a:r>
          </a:p>
        </p:txBody>
      </p:sp>
      <p:sp>
        <p:nvSpPr>
          <p:cNvPr id="27" name="Rounded Rectangle 26">
            <a:extLst>
              <a:ext uri="{FF2B5EF4-FFF2-40B4-BE49-F238E27FC236}">
                <a16:creationId xmlns:a16="http://schemas.microsoft.com/office/drawing/2014/main" id="{E62D085F-F57B-4C43-B45B-D8D5B4E52FC1}"/>
              </a:ext>
            </a:extLst>
          </p:cNvPr>
          <p:cNvSpPr/>
          <p:nvPr/>
        </p:nvSpPr>
        <p:spPr>
          <a:xfrm>
            <a:off x="5309145" y="3434497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PREVENT Referral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1BE1C81B-CC9F-8A4C-9616-AFBC09B1F76C}"/>
              </a:ext>
            </a:extLst>
          </p:cNvPr>
          <p:cNvSpPr/>
          <p:nvPr/>
        </p:nvSpPr>
        <p:spPr>
          <a:xfrm>
            <a:off x="5305580" y="2708826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Events &amp; Processions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8FB8B4DA-29E6-DB40-ACA7-5D666939066C}"/>
              </a:ext>
            </a:extLst>
          </p:cNvPr>
          <p:cNvSpPr/>
          <p:nvPr/>
        </p:nvSpPr>
        <p:spPr>
          <a:xfrm>
            <a:off x="3680022" y="5699085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Missing Person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C8AFCB3-3060-BA4F-B96B-F7C89C6BEF0F}"/>
              </a:ext>
            </a:extLst>
          </p:cNvPr>
          <p:cNvSpPr txBox="1"/>
          <p:nvPr/>
        </p:nvSpPr>
        <p:spPr>
          <a:xfrm rot="16200000">
            <a:off x="2545166" y="5646107"/>
            <a:ext cx="16287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/>
              <a:t>Services Development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FF701ECE-62A8-BB48-A30C-645CE56DBFA0}"/>
              </a:ext>
            </a:extLst>
          </p:cNvPr>
          <p:cNvSpPr/>
          <p:nvPr/>
        </p:nvSpPr>
        <p:spPr>
          <a:xfrm>
            <a:off x="4490673" y="1980703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Fraud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DF510DB6-4768-E542-847C-DD82C6B4F593}"/>
              </a:ext>
            </a:extLst>
          </p:cNvPr>
          <p:cNvSpPr/>
          <p:nvPr/>
        </p:nvSpPr>
        <p:spPr>
          <a:xfrm>
            <a:off x="5314636" y="416580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Notify to Film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1FC4ACCE-F117-5749-9133-611BFEFDF82A}"/>
              </a:ext>
            </a:extLst>
          </p:cNvPr>
          <p:cNvSpPr txBox="1"/>
          <p:nvPr/>
        </p:nvSpPr>
        <p:spPr>
          <a:xfrm>
            <a:off x="6317892" y="1656758"/>
            <a:ext cx="12362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Apply &amp; Register</a:t>
            </a:r>
          </a:p>
        </p:txBody>
      </p:sp>
      <p:pic>
        <p:nvPicPr>
          <p:cNvPr id="4" name="Graphic 3" descr="Blog with solid fill">
            <a:extLst>
              <a:ext uri="{FF2B5EF4-FFF2-40B4-BE49-F238E27FC236}">
                <a16:creationId xmlns:a16="http://schemas.microsoft.com/office/drawing/2014/main" id="{9B5CCDD0-621E-1E46-875C-AD15F6320E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9456" y="2249964"/>
            <a:ext cx="338078" cy="338078"/>
          </a:xfrm>
          <a:prstGeom prst="rect">
            <a:avLst/>
          </a:prstGeom>
        </p:spPr>
      </p:pic>
      <p:pic>
        <p:nvPicPr>
          <p:cNvPr id="43" name="Graphic 42" descr="Blog with solid fill">
            <a:extLst>
              <a:ext uri="{FF2B5EF4-FFF2-40B4-BE49-F238E27FC236}">
                <a16:creationId xmlns:a16="http://schemas.microsoft.com/office/drawing/2014/main" id="{CC1D8E82-A356-804A-8401-44C341D44D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48992" y="2959675"/>
            <a:ext cx="338078" cy="338078"/>
          </a:xfrm>
          <a:prstGeom prst="rect">
            <a:avLst/>
          </a:prstGeom>
        </p:spPr>
      </p:pic>
      <p:pic>
        <p:nvPicPr>
          <p:cNvPr id="44" name="Graphic 43" descr="Blog with solid fill">
            <a:extLst>
              <a:ext uri="{FF2B5EF4-FFF2-40B4-BE49-F238E27FC236}">
                <a16:creationId xmlns:a16="http://schemas.microsoft.com/office/drawing/2014/main" id="{CBF02019-2B77-9346-900E-00E9E3CB34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9456" y="4396856"/>
            <a:ext cx="338078" cy="338078"/>
          </a:xfrm>
          <a:prstGeom prst="rect">
            <a:avLst/>
          </a:prstGeom>
        </p:spPr>
      </p:pic>
      <p:pic>
        <p:nvPicPr>
          <p:cNvPr id="48" name="Graphic 47" descr="Blog with solid fill">
            <a:extLst>
              <a:ext uri="{FF2B5EF4-FFF2-40B4-BE49-F238E27FC236}">
                <a16:creationId xmlns:a16="http://schemas.microsoft.com/office/drawing/2014/main" id="{89349D20-DE1E-D848-97A4-06193EBBBD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0958" y="3685370"/>
            <a:ext cx="338078" cy="338078"/>
          </a:xfrm>
          <a:prstGeom prst="rect">
            <a:avLst/>
          </a:prstGeom>
        </p:spPr>
      </p:pic>
      <p:pic>
        <p:nvPicPr>
          <p:cNvPr id="51" name="Graphic 50" descr="Blog with solid fill">
            <a:extLst>
              <a:ext uri="{FF2B5EF4-FFF2-40B4-BE49-F238E27FC236}">
                <a16:creationId xmlns:a16="http://schemas.microsoft.com/office/drawing/2014/main" id="{80A506E4-A80E-5844-93FA-24E7CBD312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87516" y="3694553"/>
            <a:ext cx="338078" cy="338078"/>
          </a:xfrm>
          <a:prstGeom prst="rect">
            <a:avLst/>
          </a:prstGeom>
        </p:spPr>
      </p:pic>
      <p:pic>
        <p:nvPicPr>
          <p:cNvPr id="52" name="Graphic 51" descr="Blog with solid fill">
            <a:extLst>
              <a:ext uri="{FF2B5EF4-FFF2-40B4-BE49-F238E27FC236}">
                <a16:creationId xmlns:a16="http://schemas.microsoft.com/office/drawing/2014/main" id="{030406EE-7A0E-4B4A-9358-01F0FC4F04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68152" y="2966373"/>
            <a:ext cx="338078" cy="338078"/>
          </a:xfrm>
          <a:prstGeom prst="rect">
            <a:avLst/>
          </a:prstGeom>
        </p:spPr>
      </p:pic>
      <p:pic>
        <p:nvPicPr>
          <p:cNvPr id="53" name="Graphic 52" descr="Blog with solid fill">
            <a:extLst>
              <a:ext uri="{FF2B5EF4-FFF2-40B4-BE49-F238E27FC236}">
                <a16:creationId xmlns:a16="http://schemas.microsoft.com/office/drawing/2014/main" id="{5F5D33F3-4EAF-EE46-9EE6-978A6D30F7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53856" y="3159521"/>
            <a:ext cx="338078" cy="338078"/>
          </a:xfrm>
          <a:prstGeom prst="rect">
            <a:avLst/>
          </a:prstGeom>
        </p:spPr>
      </p:pic>
      <p:pic>
        <p:nvPicPr>
          <p:cNvPr id="54" name="Graphic 53" descr="Blog with solid fill">
            <a:extLst>
              <a:ext uri="{FF2B5EF4-FFF2-40B4-BE49-F238E27FC236}">
                <a16:creationId xmlns:a16="http://schemas.microsoft.com/office/drawing/2014/main" id="{A981CC0A-E70E-1943-A5E7-E7EA1B0739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71280" y="2265866"/>
            <a:ext cx="338078" cy="338078"/>
          </a:xfrm>
          <a:prstGeom prst="rect">
            <a:avLst/>
          </a:prstGeom>
        </p:spPr>
      </p:pic>
      <p:pic>
        <p:nvPicPr>
          <p:cNvPr id="56" name="Graphic 55" descr="Blog with solid fill">
            <a:extLst>
              <a:ext uri="{FF2B5EF4-FFF2-40B4-BE49-F238E27FC236}">
                <a16:creationId xmlns:a16="http://schemas.microsoft.com/office/drawing/2014/main" id="{512C61A9-287B-1146-893E-5A4D4D98596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98759" y="4399472"/>
            <a:ext cx="338078" cy="338078"/>
          </a:xfrm>
          <a:prstGeom prst="rect">
            <a:avLst/>
          </a:prstGeom>
        </p:spPr>
      </p:pic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E4189630-5F38-6844-A9A3-1F341FC44A7F}"/>
              </a:ext>
            </a:extLst>
          </p:cNvPr>
          <p:cNvSpPr/>
          <p:nvPr/>
        </p:nvSpPr>
        <p:spPr>
          <a:xfrm>
            <a:off x="6143848" y="1983878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FAL</a:t>
            </a:r>
          </a:p>
        </p:txBody>
      </p:sp>
      <p:pic>
        <p:nvPicPr>
          <p:cNvPr id="58" name="Graphic 57" descr="Blog with solid fill">
            <a:extLst>
              <a:ext uri="{FF2B5EF4-FFF2-40B4-BE49-F238E27FC236}">
                <a16:creationId xmlns:a16="http://schemas.microsoft.com/office/drawing/2014/main" id="{486EF377-44CD-1A47-853B-758D67710B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27971" y="2249964"/>
            <a:ext cx="338078" cy="338078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D2B86984-D37B-B74C-9037-880BED1C59A2}"/>
              </a:ext>
            </a:extLst>
          </p:cNvPr>
          <p:cNvSpPr txBox="1"/>
          <p:nvPr/>
        </p:nvSpPr>
        <p:spPr>
          <a:xfrm>
            <a:off x="8236439" y="1656758"/>
            <a:ext cx="7104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Request</a:t>
            </a: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332837E5-4031-894F-B5FA-AD9ADD5750D1}"/>
              </a:ext>
            </a:extLst>
          </p:cNvPr>
          <p:cNvSpPr/>
          <p:nvPr/>
        </p:nvSpPr>
        <p:spPr>
          <a:xfrm>
            <a:off x="6955277" y="1983080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areers</a:t>
            </a:r>
          </a:p>
        </p:txBody>
      </p:sp>
      <p:pic>
        <p:nvPicPr>
          <p:cNvPr id="63" name="Graphic 62" descr="Cloud Computing with solid fill">
            <a:extLst>
              <a:ext uri="{FF2B5EF4-FFF2-40B4-BE49-F238E27FC236}">
                <a16:creationId xmlns:a16="http://schemas.microsoft.com/office/drawing/2014/main" id="{2DAEAC3C-73C3-A84A-BA99-8681A55384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35550" y="2238502"/>
            <a:ext cx="338078" cy="338078"/>
          </a:xfrm>
          <a:prstGeom prst="rect">
            <a:avLst/>
          </a:prstGeom>
        </p:spPr>
      </p:pic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EE9580BB-076D-A54A-A90F-DF77838E29DF}"/>
              </a:ext>
            </a:extLst>
          </p:cNvPr>
          <p:cNvSpPr/>
          <p:nvPr/>
        </p:nvSpPr>
        <p:spPr>
          <a:xfrm>
            <a:off x="3590980" y="1579245"/>
            <a:ext cx="1646878" cy="4904880"/>
          </a:xfrm>
          <a:prstGeom prst="roundRect">
            <a:avLst>
              <a:gd name="adj" fmla="val 7991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Rounded Rectangle 64">
            <a:extLst>
              <a:ext uri="{FF2B5EF4-FFF2-40B4-BE49-F238E27FC236}">
                <a16:creationId xmlns:a16="http://schemas.microsoft.com/office/drawing/2014/main" id="{9F99CDC6-DAC9-9A43-8D3B-37147366BEE3}"/>
              </a:ext>
            </a:extLst>
          </p:cNvPr>
          <p:cNvSpPr/>
          <p:nvPr/>
        </p:nvSpPr>
        <p:spPr>
          <a:xfrm>
            <a:off x="6955277" y="3430684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Overseas visitors</a:t>
            </a:r>
          </a:p>
        </p:txBody>
      </p:sp>
      <p:sp>
        <p:nvSpPr>
          <p:cNvPr id="67" name="Rounded Rectangle 66">
            <a:extLst>
              <a:ext uri="{FF2B5EF4-FFF2-40B4-BE49-F238E27FC236}">
                <a16:creationId xmlns:a16="http://schemas.microsoft.com/office/drawing/2014/main" id="{90EB46E7-5ACD-734F-866E-1A36C1399353}"/>
              </a:ext>
            </a:extLst>
          </p:cNvPr>
          <p:cNvSpPr/>
          <p:nvPr/>
        </p:nvSpPr>
        <p:spPr>
          <a:xfrm>
            <a:off x="6955277" y="2706882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Watch Schemes</a:t>
            </a:r>
          </a:p>
        </p:txBody>
      </p:sp>
      <p:pic>
        <p:nvPicPr>
          <p:cNvPr id="68" name="Graphic 67" descr="Cloud Computing with solid fill">
            <a:extLst>
              <a:ext uri="{FF2B5EF4-FFF2-40B4-BE49-F238E27FC236}">
                <a16:creationId xmlns:a16="http://schemas.microsoft.com/office/drawing/2014/main" id="{4660753D-A945-A44A-B276-47150350EE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35550" y="2962304"/>
            <a:ext cx="338078" cy="338078"/>
          </a:xfrm>
          <a:prstGeom prst="rect">
            <a:avLst/>
          </a:prstGeom>
        </p:spPr>
      </p:pic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D1301687-9173-FD47-84F3-D5BAE5DF9D8E}"/>
              </a:ext>
            </a:extLst>
          </p:cNvPr>
          <p:cNvSpPr/>
          <p:nvPr/>
        </p:nvSpPr>
        <p:spPr>
          <a:xfrm>
            <a:off x="7867386" y="1983080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ollision Report</a:t>
            </a:r>
          </a:p>
        </p:txBody>
      </p:sp>
      <p:pic>
        <p:nvPicPr>
          <p:cNvPr id="70" name="Graphic 69" descr="Blog with solid fill">
            <a:extLst>
              <a:ext uri="{FF2B5EF4-FFF2-40B4-BE49-F238E27FC236}">
                <a16:creationId xmlns:a16="http://schemas.microsoft.com/office/drawing/2014/main" id="{3AD1353A-40B3-F447-A3FA-D4EB9B00B0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1509" y="2249166"/>
            <a:ext cx="338078" cy="338078"/>
          </a:xfrm>
          <a:prstGeom prst="rect">
            <a:avLst/>
          </a:prstGeom>
        </p:spPr>
      </p:pic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8FD95DA9-DE4C-B94E-A7CE-B09786C33706}"/>
              </a:ext>
            </a:extLst>
          </p:cNvPr>
          <p:cNvSpPr/>
          <p:nvPr/>
        </p:nvSpPr>
        <p:spPr>
          <a:xfrm>
            <a:off x="7867386" y="2716121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Intellectual Property License</a:t>
            </a:r>
          </a:p>
        </p:txBody>
      </p:sp>
      <p:pic>
        <p:nvPicPr>
          <p:cNvPr id="72" name="Graphic 71" descr="Blog with solid fill">
            <a:extLst>
              <a:ext uri="{FF2B5EF4-FFF2-40B4-BE49-F238E27FC236}">
                <a16:creationId xmlns:a16="http://schemas.microsoft.com/office/drawing/2014/main" id="{5C66E08E-A509-5F4E-A8C5-2BD53538A6E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1509" y="3010782"/>
            <a:ext cx="338078" cy="338078"/>
          </a:xfrm>
          <a:prstGeom prst="rect">
            <a:avLst/>
          </a:prstGeom>
        </p:spPr>
      </p:pic>
      <p:sp>
        <p:nvSpPr>
          <p:cNvPr id="73" name="Rounded Rectangle 72">
            <a:extLst>
              <a:ext uri="{FF2B5EF4-FFF2-40B4-BE49-F238E27FC236}">
                <a16:creationId xmlns:a16="http://schemas.microsoft.com/office/drawing/2014/main" id="{7BC3F234-4AD6-B34F-8499-73721151BD4E}"/>
              </a:ext>
            </a:extLst>
          </p:cNvPr>
          <p:cNvSpPr/>
          <p:nvPr/>
        </p:nvSpPr>
        <p:spPr>
          <a:xfrm>
            <a:off x="7869396" y="343302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Information about the Force</a:t>
            </a:r>
          </a:p>
        </p:txBody>
      </p:sp>
      <p:pic>
        <p:nvPicPr>
          <p:cNvPr id="74" name="Graphic 73" descr="Blog with solid fill">
            <a:extLst>
              <a:ext uri="{FF2B5EF4-FFF2-40B4-BE49-F238E27FC236}">
                <a16:creationId xmlns:a16="http://schemas.microsoft.com/office/drawing/2014/main" id="{C7F6262D-0A84-954C-89A7-684026F094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3519" y="3727686"/>
            <a:ext cx="338078" cy="338078"/>
          </a:xfrm>
          <a:prstGeom prst="rect">
            <a:avLst/>
          </a:prstGeom>
        </p:spPr>
      </p:pic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6D650661-2F0F-4049-85D0-5CAB1D411804}"/>
              </a:ext>
            </a:extLst>
          </p:cNvPr>
          <p:cNvSpPr/>
          <p:nvPr/>
        </p:nvSpPr>
        <p:spPr>
          <a:xfrm>
            <a:off x="7867386" y="416580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Your Fingerprints</a:t>
            </a:r>
          </a:p>
        </p:txBody>
      </p:sp>
      <p:pic>
        <p:nvPicPr>
          <p:cNvPr id="77" name="Graphic 76" descr="Blog with solid fill">
            <a:extLst>
              <a:ext uri="{FF2B5EF4-FFF2-40B4-BE49-F238E27FC236}">
                <a16:creationId xmlns:a16="http://schemas.microsoft.com/office/drawing/2014/main" id="{E4DF3FB7-B14A-0C4E-8E01-9B6D9A3FD1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1509" y="4382882"/>
            <a:ext cx="338078" cy="338078"/>
          </a:xfrm>
          <a:prstGeom prst="rect">
            <a:avLst/>
          </a:prstGeom>
        </p:spPr>
      </p:pic>
      <p:sp>
        <p:nvSpPr>
          <p:cNvPr id="78" name="Rounded Rectangle 77">
            <a:extLst>
              <a:ext uri="{FF2B5EF4-FFF2-40B4-BE49-F238E27FC236}">
                <a16:creationId xmlns:a16="http://schemas.microsoft.com/office/drawing/2014/main" id="{F0CDB554-42E2-0D48-96F2-12F7A5CB78BC}"/>
              </a:ext>
            </a:extLst>
          </p:cNvPr>
          <p:cNvSpPr/>
          <p:nvPr/>
        </p:nvSpPr>
        <p:spPr>
          <a:xfrm>
            <a:off x="8661571" y="2696691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ounter-Terrorism advice</a:t>
            </a:r>
          </a:p>
        </p:txBody>
      </p:sp>
      <p:pic>
        <p:nvPicPr>
          <p:cNvPr id="79" name="Graphic 78" descr="Blog with solid fill">
            <a:extLst>
              <a:ext uri="{FF2B5EF4-FFF2-40B4-BE49-F238E27FC236}">
                <a16:creationId xmlns:a16="http://schemas.microsoft.com/office/drawing/2014/main" id="{21AC0825-9D22-2B41-88D7-A61640289D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5694" y="2981827"/>
            <a:ext cx="338078" cy="338078"/>
          </a:xfrm>
          <a:prstGeom prst="rect">
            <a:avLst/>
          </a:prstGeom>
        </p:spPr>
      </p:pic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2E2CBB2A-0286-F247-8695-D1E4D81180BF}"/>
              </a:ext>
            </a:extLst>
          </p:cNvPr>
          <p:cNvSpPr/>
          <p:nvPr/>
        </p:nvSpPr>
        <p:spPr>
          <a:xfrm>
            <a:off x="8658232" y="1983080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lare’s Law</a:t>
            </a:r>
          </a:p>
        </p:txBody>
      </p:sp>
      <p:pic>
        <p:nvPicPr>
          <p:cNvPr id="81" name="Graphic 80" descr="Blog with solid fill">
            <a:extLst>
              <a:ext uri="{FF2B5EF4-FFF2-40B4-BE49-F238E27FC236}">
                <a16:creationId xmlns:a16="http://schemas.microsoft.com/office/drawing/2014/main" id="{68380888-CEC2-3740-9ADD-41C80A9CC7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2355" y="2249166"/>
            <a:ext cx="338078" cy="338078"/>
          </a:xfrm>
          <a:prstGeom prst="rect">
            <a:avLst/>
          </a:prstGeom>
        </p:spPr>
      </p:pic>
      <p:sp>
        <p:nvSpPr>
          <p:cNvPr id="84" name="Rounded Rectangle 83">
            <a:extLst>
              <a:ext uri="{FF2B5EF4-FFF2-40B4-BE49-F238E27FC236}">
                <a16:creationId xmlns:a16="http://schemas.microsoft.com/office/drawing/2014/main" id="{3834BCD0-EB3B-6449-8D35-5B49924B6F44}"/>
              </a:ext>
            </a:extLst>
          </p:cNvPr>
          <p:cNvSpPr/>
          <p:nvPr/>
        </p:nvSpPr>
        <p:spPr>
          <a:xfrm>
            <a:off x="7863965" y="4966087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Sarah’s Law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CBB2106-BE24-1F4D-9B82-0D45ECD72978}"/>
              </a:ext>
            </a:extLst>
          </p:cNvPr>
          <p:cNvSpPr txBox="1"/>
          <p:nvPr/>
        </p:nvSpPr>
        <p:spPr>
          <a:xfrm>
            <a:off x="9521467" y="1656758"/>
            <a:ext cx="8050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Feedback</a:t>
            </a:r>
          </a:p>
        </p:txBody>
      </p:sp>
      <p:sp>
        <p:nvSpPr>
          <p:cNvPr id="88" name="Rounded Rectangle 87">
            <a:extLst>
              <a:ext uri="{FF2B5EF4-FFF2-40B4-BE49-F238E27FC236}">
                <a16:creationId xmlns:a16="http://schemas.microsoft.com/office/drawing/2014/main" id="{06326F6E-4D7F-6841-B5D8-78893D1CA636}"/>
              </a:ext>
            </a:extLst>
          </p:cNvPr>
          <p:cNvSpPr/>
          <p:nvPr/>
        </p:nvSpPr>
        <p:spPr>
          <a:xfrm>
            <a:off x="9563161" y="1983080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About the website</a:t>
            </a:r>
          </a:p>
        </p:txBody>
      </p:sp>
      <p:pic>
        <p:nvPicPr>
          <p:cNvPr id="89" name="Graphic 88" descr="Blog with solid fill">
            <a:extLst>
              <a:ext uri="{FF2B5EF4-FFF2-40B4-BE49-F238E27FC236}">
                <a16:creationId xmlns:a16="http://schemas.microsoft.com/office/drawing/2014/main" id="{7EB9B603-F46B-194A-BD66-B24A5E40FE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47284" y="2249166"/>
            <a:ext cx="338078" cy="338078"/>
          </a:xfrm>
          <a:prstGeom prst="rect">
            <a:avLst/>
          </a:prstGeom>
        </p:spPr>
      </p:pic>
      <p:sp>
        <p:nvSpPr>
          <p:cNvPr id="90" name="Rounded Rectangle 89">
            <a:extLst>
              <a:ext uri="{FF2B5EF4-FFF2-40B4-BE49-F238E27FC236}">
                <a16:creationId xmlns:a16="http://schemas.microsoft.com/office/drawing/2014/main" id="{947C1BC9-73E2-764F-AACC-67A6EC59C5F4}"/>
              </a:ext>
            </a:extLst>
          </p:cNvPr>
          <p:cNvSpPr/>
          <p:nvPr/>
        </p:nvSpPr>
        <p:spPr>
          <a:xfrm>
            <a:off x="9563161" y="2708826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Thanks &amp; Complaints</a:t>
            </a:r>
          </a:p>
        </p:txBody>
      </p:sp>
      <p:pic>
        <p:nvPicPr>
          <p:cNvPr id="91" name="Graphic 90" descr="Blog with solid fill">
            <a:extLst>
              <a:ext uri="{FF2B5EF4-FFF2-40B4-BE49-F238E27FC236}">
                <a16:creationId xmlns:a16="http://schemas.microsoft.com/office/drawing/2014/main" id="{61A0ABE4-E141-D040-8524-3E800F5735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47284" y="2974912"/>
            <a:ext cx="338078" cy="338078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B08C4D43-7208-1940-B465-86A5949850C1}"/>
              </a:ext>
            </a:extLst>
          </p:cNvPr>
          <p:cNvSpPr txBox="1"/>
          <p:nvPr/>
        </p:nvSpPr>
        <p:spPr>
          <a:xfrm>
            <a:off x="10593349" y="1656758"/>
            <a:ext cx="111601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Other Services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47F39755-C9A4-4C4C-B3EE-4C0F02E7D62D}"/>
              </a:ext>
            </a:extLst>
          </p:cNvPr>
          <p:cNvSpPr/>
          <p:nvPr/>
        </p:nvSpPr>
        <p:spPr>
          <a:xfrm>
            <a:off x="10391835" y="1974597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ontact Us</a:t>
            </a:r>
          </a:p>
        </p:txBody>
      </p:sp>
      <p:pic>
        <p:nvPicPr>
          <p:cNvPr id="95" name="Graphic 94" descr="Blog with solid fill">
            <a:extLst>
              <a:ext uri="{FF2B5EF4-FFF2-40B4-BE49-F238E27FC236}">
                <a16:creationId xmlns:a16="http://schemas.microsoft.com/office/drawing/2014/main" id="{A0CBA06C-8B1F-4C4F-A72B-64084FBEBA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9860" y="2240683"/>
            <a:ext cx="338078" cy="338078"/>
          </a:xfrm>
          <a:prstGeom prst="rect">
            <a:avLst/>
          </a:prstGeom>
        </p:spPr>
      </p:pic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B4BF74DC-7E71-8340-99C6-6F0DDE541797}"/>
              </a:ext>
            </a:extLst>
          </p:cNvPr>
          <p:cNvSpPr/>
          <p:nvPr/>
        </p:nvSpPr>
        <p:spPr>
          <a:xfrm>
            <a:off x="6151004" y="2696691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Attend a misconduct hearing</a:t>
            </a:r>
          </a:p>
        </p:txBody>
      </p:sp>
      <p:pic>
        <p:nvPicPr>
          <p:cNvPr id="97" name="Graphic 96" descr="Blog with solid fill">
            <a:extLst>
              <a:ext uri="{FF2B5EF4-FFF2-40B4-BE49-F238E27FC236}">
                <a16:creationId xmlns:a16="http://schemas.microsoft.com/office/drawing/2014/main" id="{32031178-D83F-ED49-885B-D23DC07729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35127" y="2991352"/>
            <a:ext cx="338078" cy="338078"/>
          </a:xfrm>
          <a:prstGeom prst="rect">
            <a:avLst/>
          </a:prstGeom>
        </p:spPr>
      </p:pic>
      <p:sp>
        <p:nvSpPr>
          <p:cNvPr id="98" name="Rounded Rectangle 97">
            <a:extLst>
              <a:ext uri="{FF2B5EF4-FFF2-40B4-BE49-F238E27FC236}">
                <a16:creationId xmlns:a16="http://schemas.microsoft.com/office/drawing/2014/main" id="{961CEE1F-4A7A-A740-BFE9-48955FB341AB}"/>
              </a:ext>
            </a:extLst>
          </p:cNvPr>
          <p:cNvSpPr/>
          <p:nvPr/>
        </p:nvSpPr>
        <p:spPr>
          <a:xfrm>
            <a:off x="10400608" y="2696691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Live Chat</a:t>
            </a:r>
          </a:p>
        </p:txBody>
      </p:sp>
      <p:sp>
        <p:nvSpPr>
          <p:cNvPr id="99" name="Rounded Rectangle 98">
            <a:extLst>
              <a:ext uri="{FF2B5EF4-FFF2-40B4-BE49-F238E27FC236}">
                <a16:creationId xmlns:a16="http://schemas.microsoft.com/office/drawing/2014/main" id="{6BA890A9-3C6E-A841-968D-FA13C3E419F0}"/>
              </a:ext>
            </a:extLst>
          </p:cNvPr>
          <p:cNvSpPr/>
          <p:nvPr/>
        </p:nvSpPr>
        <p:spPr>
          <a:xfrm>
            <a:off x="10413170" y="4984177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Live Chat Strategic solution</a:t>
            </a:r>
          </a:p>
        </p:txBody>
      </p:sp>
      <p:pic>
        <p:nvPicPr>
          <p:cNvPr id="35" name="Graphic 34" descr="Questions with solid fill">
            <a:extLst>
              <a:ext uri="{FF2B5EF4-FFF2-40B4-BE49-F238E27FC236}">
                <a16:creationId xmlns:a16="http://schemas.microsoft.com/office/drawing/2014/main" id="{6D5F4332-112B-F84D-94F9-9767A5AC9A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6671" y="2277239"/>
            <a:ext cx="286686" cy="286686"/>
          </a:xfrm>
          <a:prstGeom prst="rect">
            <a:avLst/>
          </a:prstGeom>
        </p:spPr>
      </p:pic>
      <p:sp>
        <p:nvSpPr>
          <p:cNvPr id="102" name="Rounded Rectangle 101">
            <a:extLst>
              <a:ext uri="{FF2B5EF4-FFF2-40B4-BE49-F238E27FC236}">
                <a16:creationId xmlns:a16="http://schemas.microsoft.com/office/drawing/2014/main" id="{73F8DF0B-CEB5-FE4A-96B0-E09CA5FA3487}"/>
              </a:ext>
            </a:extLst>
          </p:cNvPr>
          <p:cNvSpPr/>
          <p:nvPr/>
        </p:nvSpPr>
        <p:spPr>
          <a:xfrm>
            <a:off x="4489676" y="2713384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Civil Disputes</a:t>
            </a:r>
          </a:p>
        </p:txBody>
      </p:sp>
      <p:pic>
        <p:nvPicPr>
          <p:cNvPr id="103" name="Graphic 102" descr="Questions with solid fill">
            <a:extLst>
              <a:ext uri="{FF2B5EF4-FFF2-40B4-BE49-F238E27FC236}">
                <a16:creationId xmlns:a16="http://schemas.microsoft.com/office/drawing/2014/main" id="{48B673E4-4CA4-5248-BCD3-3A6DAEEE41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5674" y="3009920"/>
            <a:ext cx="286686" cy="286686"/>
          </a:xfrm>
          <a:prstGeom prst="rect">
            <a:avLst/>
          </a:prstGeom>
        </p:spPr>
      </p:pic>
      <p:sp>
        <p:nvSpPr>
          <p:cNvPr id="104" name="Rounded Rectangle 103">
            <a:extLst>
              <a:ext uri="{FF2B5EF4-FFF2-40B4-BE49-F238E27FC236}">
                <a16:creationId xmlns:a16="http://schemas.microsoft.com/office/drawing/2014/main" id="{AC77C8BA-A2B1-DB43-9595-0E084437F5F1}"/>
              </a:ext>
            </a:extLst>
          </p:cNvPr>
          <p:cNvSpPr/>
          <p:nvPr/>
        </p:nvSpPr>
        <p:spPr>
          <a:xfrm>
            <a:off x="5248057" y="1579245"/>
            <a:ext cx="828513" cy="4904880"/>
          </a:xfrm>
          <a:prstGeom prst="roundRect">
            <a:avLst>
              <a:gd name="adj" fmla="val 12590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5" name="Rounded Rectangle 104">
            <a:extLst>
              <a:ext uri="{FF2B5EF4-FFF2-40B4-BE49-F238E27FC236}">
                <a16:creationId xmlns:a16="http://schemas.microsoft.com/office/drawing/2014/main" id="{33B2FD1B-A8D3-6E47-8CA0-B53F68239317}"/>
              </a:ext>
            </a:extLst>
          </p:cNvPr>
          <p:cNvSpPr/>
          <p:nvPr/>
        </p:nvSpPr>
        <p:spPr>
          <a:xfrm>
            <a:off x="3160092" y="1500795"/>
            <a:ext cx="8908083" cy="3385528"/>
          </a:xfrm>
          <a:prstGeom prst="roundRect">
            <a:avLst>
              <a:gd name="adj" fmla="val 3216"/>
            </a:avLst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8" name="Rounded Rectangle 107">
            <a:extLst>
              <a:ext uri="{FF2B5EF4-FFF2-40B4-BE49-F238E27FC236}">
                <a16:creationId xmlns:a16="http://schemas.microsoft.com/office/drawing/2014/main" id="{167EC396-77B5-AA49-A164-4ED80EDBF1D8}"/>
              </a:ext>
            </a:extLst>
          </p:cNvPr>
          <p:cNvSpPr/>
          <p:nvPr/>
        </p:nvSpPr>
        <p:spPr>
          <a:xfrm>
            <a:off x="10406944" y="3393326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Your area</a:t>
            </a:r>
          </a:p>
        </p:txBody>
      </p:sp>
      <p:sp>
        <p:nvSpPr>
          <p:cNvPr id="110" name="Rounded Rectangle 109">
            <a:extLst>
              <a:ext uri="{FF2B5EF4-FFF2-40B4-BE49-F238E27FC236}">
                <a16:creationId xmlns:a16="http://schemas.microsoft.com/office/drawing/2014/main" id="{7B1FCD46-B07B-E448-90B6-B0B745DF53C2}"/>
              </a:ext>
            </a:extLst>
          </p:cNvPr>
          <p:cNvSpPr/>
          <p:nvPr/>
        </p:nvSpPr>
        <p:spPr>
          <a:xfrm>
            <a:off x="4489676" y="344606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Lost &amp; Found property</a:t>
            </a:r>
          </a:p>
        </p:txBody>
      </p:sp>
      <p:pic>
        <p:nvPicPr>
          <p:cNvPr id="111" name="Graphic 110" descr="Questions with solid fill">
            <a:extLst>
              <a:ext uri="{FF2B5EF4-FFF2-40B4-BE49-F238E27FC236}">
                <a16:creationId xmlns:a16="http://schemas.microsoft.com/office/drawing/2014/main" id="{843F4650-442F-924A-B970-10B4AAA099E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5674" y="3742601"/>
            <a:ext cx="286686" cy="286686"/>
          </a:xfrm>
          <a:prstGeom prst="rect">
            <a:avLst/>
          </a:prstGeom>
        </p:spPr>
      </p:pic>
      <p:sp>
        <p:nvSpPr>
          <p:cNvPr id="112" name="Rounded Rectangle 111">
            <a:extLst>
              <a:ext uri="{FF2B5EF4-FFF2-40B4-BE49-F238E27FC236}">
                <a16:creationId xmlns:a16="http://schemas.microsoft.com/office/drawing/2014/main" id="{F6890775-4A44-D046-84D5-C2BA83B54FD6}"/>
              </a:ext>
            </a:extLst>
          </p:cNvPr>
          <p:cNvSpPr/>
          <p:nvPr/>
        </p:nvSpPr>
        <p:spPr>
          <a:xfrm>
            <a:off x="4489676" y="417141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Lost or stolen vehicle</a:t>
            </a:r>
          </a:p>
        </p:txBody>
      </p:sp>
      <p:pic>
        <p:nvPicPr>
          <p:cNvPr id="113" name="Graphic 112" descr="Questions with solid fill">
            <a:extLst>
              <a:ext uri="{FF2B5EF4-FFF2-40B4-BE49-F238E27FC236}">
                <a16:creationId xmlns:a16="http://schemas.microsoft.com/office/drawing/2014/main" id="{FDCB179C-04D2-6B4E-AAD1-928ED263FF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75674" y="4467951"/>
            <a:ext cx="286686" cy="286686"/>
          </a:xfrm>
          <a:prstGeom prst="rect">
            <a:avLst/>
          </a:prstGeom>
        </p:spPr>
      </p:pic>
      <p:sp>
        <p:nvSpPr>
          <p:cNvPr id="114" name="Rounded Rectangle 113">
            <a:extLst>
              <a:ext uri="{FF2B5EF4-FFF2-40B4-BE49-F238E27FC236}">
                <a16:creationId xmlns:a16="http://schemas.microsoft.com/office/drawing/2014/main" id="{CC59D47C-101A-9F4C-A098-076601E22E35}"/>
              </a:ext>
            </a:extLst>
          </p:cNvPr>
          <p:cNvSpPr/>
          <p:nvPr/>
        </p:nvSpPr>
        <p:spPr>
          <a:xfrm>
            <a:off x="11208280" y="1970835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Home page &amp; news</a:t>
            </a:r>
          </a:p>
        </p:txBody>
      </p:sp>
      <p:sp>
        <p:nvSpPr>
          <p:cNvPr id="116" name="Rounded Rectangle 115">
            <a:extLst>
              <a:ext uri="{FF2B5EF4-FFF2-40B4-BE49-F238E27FC236}">
                <a16:creationId xmlns:a16="http://schemas.microsoft.com/office/drawing/2014/main" id="{A5CC8686-6BB7-8948-AF1B-5B86D9FEE050}"/>
              </a:ext>
            </a:extLst>
          </p:cNvPr>
          <p:cNvSpPr/>
          <p:nvPr/>
        </p:nvSpPr>
        <p:spPr>
          <a:xfrm>
            <a:off x="11211480" y="2670958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About us / force info</a:t>
            </a:r>
          </a:p>
        </p:txBody>
      </p:sp>
      <p:sp>
        <p:nvSpPr>
          <p:cNvPr id="118" name="Rounded Rectangle 117">
            <a:extLst>
              <a:ext uri="{FF2B5EF4-FFF2-40B4-BE49-F238E27FC236}">
                <a16:creationId xmlns:a16="http://schemas.microsoft.com/office/drawing/2014/main" id="{1CDDE7CC-2C46-BF41-AB10-3B1358B6AA04}"/>
              </a:ext>
            </a:extLst>
          </p:cNvPr>
          <p:cNvSpPr/>
          <p:nvPr/>
        </p:nvSpPr>
        <p:spPr>
          <a:xfrm>
            <a:off x="11211480" y="3385567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General advice &amp; info</a:t>
            </a:r>
          </a:p>
        </p:txBody>
      </p:sp>
      <p:sp>
        <p:nvSpPr>
          <p:cNvPr id="120" name="Rounded Rectangle 119">
            <a:extLst>
              <a:ext uri="{FF2B5EF4-FFF2-40B4-BE49-F238E27FC236}">
                <a16:creationId xmlns:a16="http://schemas.microsoft.com/office/drawing/2014/main" id="{5B305EB1-9FD7-7C41-805D-A443082E1674}"/>
              </a:ext>
            </a:extLst>
          </p:cNvPr>
          <p:cNvSpPr/>
          <p:nvPr/>
        </p:nvSpPr>
        <p:spPr>
          <a:xfrm>
            <a:off x="3680022" y="4985204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Rape &amp; sexual assault</a:t>
            </a:r>
          </a:p>
        </p:txBody>
      </p:sp>
      <p:sp>
        <p:nvSpPr>
          <p:cNvPr id="122" name="Rounded Rectangle 121">
            <a:extLst>
              <a:ext uri="{FF2B5EF4-FFF2-40B4-BE49-F238E27FC236}">
                <a16:creationId xmlns:a16="http://schemas.microsoft.com/office/drawing/2014/main" id="{837A8322-D7B6-6C4A-98CB-B41CD77CEA86}"/>
              </a:ext>
            </a:extLst>
          </p:cNvPr>
          <p:cNvSpPr/>
          <p:nvPr/>
        </p:nvSpPr>
        <p:spPr>
          <a:xfrm>
            <a:off x="4483442" y="4984177"/>
            <a:ext cx="688777" cy="599606"/>
          </a:xfrm>
          <a:prstGeom prst="roundRect">
            <a:avLst>
              <a:gd name="adj" fmla="val 541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Domestic Abuse Reporting</a:t>
            </a:r>
          </a:p>
        </p:txBody>
      </p:sp>
      <p:sp>
        <p:nvSpPr>
          <p:cNvPr id="124" name="Rounded Rectangle 123">
            <a:extLst>
              <a:ext uri="{FF2B5EF4-FFF2-40B4-BE49-F238E27FC236}">
                <a16:creationId xmlns:a16="http://schemas.microsoft.com/office/drawing/2014/main" id="{499B0AC6-0A0D-1F43-B26C-FD9BDFDB5AD4}"/>
              </a:ext>
            </a:extLst>
          </p:cNvPr>
          <p:cNvSpPr/>
          <p:nvPr/>
        </p:nvSpPr>
        <p:spPr>
          <a:xfrm>
            <a:off x="8667005" y="3430684"/>
            <a:ext cx="688777" cy="599606"/>
          </a:xfrm>
          <a:prstGeom prst="roundRect">
            <a:avLst>
              <a:gd name="adj" fmla="val 5417"/>
            </a:avLst>
          </a:prstGeom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600" dirty="0"/>
              <a:t>FOI</a:t>
            </a:r>
          </a:p>
        </p:txBody>
      </p:sp>
      <p:sp>
        <p:nvSpPr>
          <p:cNvPr id="125" name="Rounded Rectangle 124">
            <a:extLst>
              <a:ext uri="{FF2B5EF4-FFF2-40B4-BE49-F238E27FC236}">
                <a16:creationId xmlns:a16="http://schemas.microsoft.com/office/drawing/2014/main" id="{212A780B-CE76-B045-AA16-7C74DB914FBE}"/>
              </a:ext>
            </a:extLst>
          </p:cNvPr>
          <p:cNvSpPr/>
          <p:nvPr/>
        </p:nvSpPr>
        <p:spPr>
          <a:xfrm>
            <a:off x="3153272" y="4887819"/>
            <a:ext cx="8908083" cy="1664824"/>
          </a:xfrm>
          <a:prstGeom prst="roundRect">
            <a:avLst>
              <a:gd name="adj" fmla="val 5505"/>
            </a:avLst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6" name="Rounded Rectangle 125">
            <a:extLst>
              <a:ext uri="{FF2B5EF4-FFF2-40B4-BE49-F238E27FC236}">
                <a16:creationId xmlns:a16="http://schemas.microsoft.com/office/drawing/2014/main" id="{21CAFEA9-FC44-2045-A904-1162D0FB959A}"/>
              </a:ext>
            </a:extLst>
          </p:cNvPr>
          <p:cNvSpPr/>
          <p:nvPr/>
        </p:nvSpPr>
        <p:spPr>
          <a:xfrm>
            <a:off x="6077205" y="1579245"/>
            <a:ext cx="1685427" cy="4904880"/>
          </a:xfrm>
          <a:prstGeom prst="roundRect">
            <a:avLst>
              <a:gd name="adj" fmla="val 6939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EB5AB5C7-33A0-AC43-B846-5C738FAD028A}"/>
              </a:ext>
            </a:extLst>
          </p:cNvPr>
          <p:cNvSpPr/>
          <p:nvPr/>
        </p:nvSpPr>
        <p:spPr>
          <a:xfrm>
            <a:off x="7772206" y="1579245"/>
            <a:ext cx="1685427" cy="4904880"/>
          </a:xfrm>
          <a:prstGeom prst="roundRect">
            <a:avLst>
              <a:gd name="adj" fmla="val 6939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8" name="Rounded Rectangle 127">
            <a:extLst>
              <a:ext uri="{FF2B5EF4-FFF2-40B4-BE49-F238E27FC236}">
                <a16:creationId xmlns:a16="http://schemas.microsoft.com/office/drawing/2014/main" id="{547186F3-7F70-ED4A-A867-D40C9E371899}"/>
              </a:ext>
            </a:extLst>
          </p:cNvPr>
          <p:cNvSpPr/>
          <p:nvPr/>
        </p:nvSpPr>
        <p:spPr>
          <a:xfrm>
            <a:off x="9467737" y="1579245"/>
            <a:ext cx="828513" cy="4904880"/>
          </a:xfrm>
          <a:prstGeom prst="roundRect">
            <a:avLst>
              <a:gd name="adj" fmla="val 12590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FC49BA1C-00DF-0848-AEBB-431F9FC6CD53}"/>
              </a:ext>
            </a:extLst>
          </p:cNvPr>
          <p:cNvSpPr/>
          <p:nvPr/>
        </p:nvSpPr>
        <p:spPr>
          <a:xfrm>
            <a:off x="10306354" y="1579245"/>
            <a:ext cx="1685427" cy="4904880"/>
          </a:xfrm>
          <a:prstGeom prst="roundRect">
            <a:avLst>
              <a:gd name="adj" fmla="val 6939"/>
            </a:avLst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0" name="Graphic 129" descr="Blog with solid fill">
            <a:extLst>
              <a:ext uri="{FF2B5EF4-FFF2-40B4-BE49-F238E27FC236}">
                <a16:creationId xmlns:a16="http://schemas.microsoft.com/office/drawing/2014/main" id="{3241C2D8-50C0-034D-81FA-10ACC51A1DE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62060" y="4959698"/>
            <a:ext cx="338078" cy="338078"/>
          </a:xfrm>
          <a:prstGeom prst="rect">
            <a:avLst/>
          </a:prstGeom>
        </p:spPr>
      </p:pic>
      <p:pic>
        <p:nvPicPr>
          <p:cNvPr id="131" name="Graphic 130" descr="Cloud Computing with solid fill">
            <a:extLst>
              <a:ext uri="{FF2B5EF4-FFF2-40B4-BE49-F238E27FC236}">
                <a16:creationId xmlns:a16="http://schemas.microsoft.com/office/drawing/2014/main" id="{7D028E1B-832D-8540-A1A8-6CA760A6949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62060" y="5357158"/>
            <a:ext cx="338078" cy="338078"/>
          </a:xfrm>
          <a:prstGeom prst="rect">
            <a:avLst/>
          </a:prstGeom>
        </p:spPr>
      </p:pic>
      <p:pic>
        <p:nvPicPr>
          <p:cNvPr id="132" name="Graphic 131" descr="Questions with solid fill">
            <a:extLst>
              <a:ext uri="{FF2B5EF4-FFF2-40B4-BE49-F238E27FC236}">
                <a16:creationId xmlns:a16="http://schemas.microsoft.com/office/drawing/2014/main" id="{3B292AC6-5E5F-604A-ADC0-17B53E3D30B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87756" y="5746148"/>
            <a:ext cx="286686" cy="286686"/>
          </a:xfrm>
          <a:prstGeom prst="rect">
            <a:avLst/>
          </a:prstGeom>
        </p:spPr>
      </p:pic>
      <p:sp>
        <p:nvSpPr>
          <p:cNvPr id="134" name="Google Shape;711;gc9635784e9_0_0">
            <a:extLst>
              <a:ext uri="{FF2B5EF4-FFF2-40B4-BE49-F238E27FC236}">
                <a16:creationId xmlns:a16="http://schemas.microsoft.com/office/drawing/2014/main" id="{11165DED-E171-8446-B857-B8C1EBB199DA}"/>
              </a:ext>
            </a:extLst>
          </p:cNvPr>
          <p:cNvSpPr/>
          <p:nvPr/>
        </p:nvSpPr>
        <p:spPr>
          <a:xfrm>
            <a:off x="1085294" y="5010400"/>
            <a:ext cx="1801075" cy="236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= Interactive service</a:t>
            </a:r>
            <a:endParaRPr sz="11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711;gc9635784e9_0_0">
            <a:extLst>
              <a:ext uri="{FF2B5EF4-FFF2-40B4-BE49-F238E27FC236}">
                <a16:creationId xmlns:a16="http://schemas.microsoft.com/office/drawing/2014/main" id="{21B7502A-C059-1D45-93F3-3FF77F86AB69}"/>
              </a:ext>
            </a:extLst>
          </p:cNvPr>
          <p:cNvSpPr/>
          <p:nvPr/>
        </p:nvSpPr>
        <p:spPr>
          <a:xfrm>
            <a:off x="1085294" y="5407860"/>
            <a:ext cx="1801075" cy="236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= Links to a 3</a:t>
            </a:r>
            <a:r>
              <a:rPr lang="en-GB" sz="1100" b="0" i="0" u="none" strike="noStrike" cap="none" baseline="30000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rd</a:t>
            </a: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 party site</a:t>
            </a:r>
            <a:endParaRPr sz="11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" name="Google Shape;711;gc9635784e9_0_0">
            <a:extLst>
              <a:ext uri="{FF2B5EF4-FFF2-40B4-BE49-F238E27FC236}">
                <a16:creationId xmlns:a16="http://schemas.microsoft.com/office/drawing/2014/main" id="{1F99516A-2D0F-9745-AAF9-9E0B467B01FC}"/>
              </a:ext>
            </a:extLst>
          </p:cNvPr>
          <p:cNvSpPr/>
          <p:nvPr/>
        </p:nvSpPr>
        <p:spPr>
          <a:xfrm>
            <a:off x="1085294" y="5771154"/>
            <a:ext cx="1801075" cy="236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= Initial triage and / or poss. re-direct to 3</a:t>
            </a:r>
            <a:r>
              <a:rPr lang="en-GB" sz="1100" b="0" i="0" u="none" strike="noStrike" cap="none" baseline="30000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rd</a:t>
            </a: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 party site </a:t>
            </a:r>
            <a:endParaRPr sz="11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" name="Google Shape;711;gc9635784e9_0_0">
            <a:extLst>
              <a:ext uri="{FF2B5EF4-FFF2-40B4-BE49-F238E27FC236}">
                <a16:creationId xmlns:a16="http://schemas.microsoft.com/office/drawing/2014/main" id="{4BBEAD24-70BA-8947-A758-0ACC14325D4A}"/>
              </a:ext>
            </a:extLst>
          </p:cNvPr>
          <p:cNvSpPr/>
          <p:nvPr/>
        </p:nvSpPr>
        <p:spPr>
          <a:xfrm>
            <a:off x="1085294" y="6126232"/>
            <a:ext cx="1801075" cy="2366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r>
              <a:rPr lang="en-GB" sz="1100" b="0" i="0" u="none" strike="noStrike" cap="none" dirty="0">
                <a:solidFill>
                  <a:srgbClr val="0C0C0C"/>
                </a:solidFill>
                <a:latin typeface="Calibri"/>
                <a:ea typeface="Calibri"/>
                <a:cs typeface="Calibri"/>
                <a:sym typeface="Calibri"/>
              </a:rPr>
              <a:t>= Info only service</a:t>
            </a:r>
            <a:endParaRPr sz="1100" b="0" i="0" u="none" strike="noStrike" cap="none" dirty="0">
              <a:solidFill>
                <a:srgbClr val="0C0C0C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" name="Graphic 137" descr="Blog with solid fill">
            <a:extLst>
              <a:ext uri="{FF2B5EF4-FFF2-40B4-BE49-F238E27FC236}">
                <a16:creationId xmlns:a16="http://schemas.microsoft.com/office/drawing/2014/main" id="{0A278AAA-E45F-EB49-9045-1C3A30CF19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9860" y="2932486"/>
            <a:ext cx="338078" cy="338078"/>
          </a:xfrm>
          <a:prstGeom prst="rect">
            <a:avLst/>
          </a:prstGeom>
        </p:spPr>
      </p:pic>
      <p:pic>
        <p:nvPicPr>
          <p:cNvPr id="139" name="Graphic 138" descr="Blog with solid fill">
            <a:extLst>
              <a:ext uri="{FF2B5EF4-FFF2-40B4-BE49-F238E27FC236}">
                <a16:creationId xmlns:a16="http://schemas.microsoft.com/office/drawing/2014/main" id="{F1AB7653-494C-4E47-81B8-2A01104D67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3508" y="3656407"/>
            <a:ext cx="338078" cy="338078"/>
          </a:xfrm>
          <a:prstGeom prst="rect">
            <a:avLst/>
          </a:prstGeom>
        </p:spPr>
      </p:pic>
      <p:pic>
        <p:nvPicPr>
          <p:cNvPr id="140" name="Graphic 139" descr="Questions with solid fill">
            <a:extLst>
              <a:ext uri="{FF2B5EF4-FFF2-40B4-BE49-F238E27FC236}">
                <a16:creationId xmlns:a16="http://schemas.microsoft.com/office/drawing/2014/main" id="{F636F339-7995-F24E-AD81-B77589209F8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30147" y="3698005"/>
            <a:ext cx="286686" cy="286686"/>
          </a:xfrm>
          <a:prstGeom prst="rect">
            <a:avLst/>
          </a:prstGeom>
        </p:spPr>
      </p:pic>
      <p:pic>
        <p:nvPicPr>
          <p:cNvPr id="38" name="Graphic 37" descr="Information with solid fill">
            <a:extLst>
              <a:ext uri="{FF2B5EF4-FFF2-40B4-BE49-F238E27FC236}">
                <a16:creationId xmlns:a16="http://schemas.microsoft.com/office/drawing/2014/main" id="{DFFA7BA2-90FC-7B4B-A163-0BF6F85B1A1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432190" y="2985128"/>
            <a:ext cx="247045" cy="247045"/>
          </a:xfrm>
          <a:prstGeom prst="rect">
            <a:avLst/>
          </a:prstGeom>
        </p:spPr>
      </p:pic>
      <p:pic>
        <p:nvPicPr>
          <p:cNvPr id="143" name="Graphic 142" descr="Information with solid fill">
            <a:extLst>
              <a:ext uri="{FF2B5EF4-FFF2-40B4-BE49-F238E27FC236}">
                <a16:creationId xmlns:a16="http://schemas.microsoft.com/office/drawing/2014/main" id="{868A974D-4433-074D-8CE2-3F20E7CC679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432190" y="3679931"/>
            <a:ext cx="247045" cy="247045"/>
          </a:xfrm>
          <a:prstGeom prst="rect">
            <a:avLst/>
          </a:prstGeom>
        </p:spPr>
      </p:pic>
      <p:pic>
        <p:nvPicPr>
          <p:cNvPr id="144" name="Graphic 143" descr="Information with solid fill">
            <a:extLst>
              <a:ext uri="{FF2B5EF4-FFF2-40B4-BE49-F238E27FC236}">
                <a16:creationId xmlns:a16="http://schemas.microsoft.com/office/drawing/2014/main" id="{50A62704-5D11-664A-B6BF-07692B37176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432190" y="2280970"/>
            <a:ext cx="247045" cy="247045"/>
          </a:xfrm>
          <a:prstGeom prst="rect">
            <a:avLst/>
          </a:prstGeom>
        </p:spPr>
      </p:pic>
      <p:pic>
        <p:nvPicPr>
          <p:cNvPr id="145" name="Graphic 144" descr="Information with solid fill">
            <a:extLst>
              <a:ext uri="{FF2B5EF4-FFF2-40B4-BE49-F238E27FC236}">
                <a16:creationId xmlns:a16="http://schemas.microsoft.com/office/drawing/2014/main" id="{C4D651EB-3996-2841-9651-C3632CE4D82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95185" y="6108655"/>
            <a:ext cx="271829" cy="271829"/>
          </a:xfrm>
          <a:prstGeom prst="rect">
            <a:avLst/>
          </a:prstGeom>
        </p:spPr>
      </p:pic>
      <p:pic>
        <p:nvPicPr>
          <p:cNvPr id="146" name="Graphic 145" descr="Blog with solid fill">
            <a:extLst>
              <a:ext uri="{FF2B5EF4-FFF2-40B4-BE49-F238E27FC236}">
                <a16:creationId xmlns:a16="http://schemas.microsoft.com/office/drawing/2014/main" id="{69A77D15-AE83-094D-8190-0590E4CF0C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45222" y="5280030"/>
            <a:ext cx="338078" cy="338078"/>
          </a:xfrm>
          <a:prstGeom prst="rect">
            <a:avLst/>
          </a:prstGeom>
        </p:spPr>
      </p:pic>
      <p:pic>
        <p:nvPicPr>
          <p:cNvPr id="147" name="Graphic 146" descr="Blog with solid fill">
            <a:extLst>
              <a:ext uri="{FF2B5EF4-FFF2-40B4-BE49-F238E27FC236}">
                <a16:creationId xmlns:a16="http://schemas.microsoft.com/office/drawing/2014/main" id="{55D84C86-A9B2-7641-9983-17500C9BE19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37468" y="5957193"/>
            <a:ext cx="338078" cy="338078"/>
          </a:xfrm>
          <a:prstGeom prst="rect">
            <a:avLst/>
          </a:prstGeom>
        </p:spPr>
      </p:pic>
      <p:pic>
        <p:nvPicPr>
          <p:cNvPr id="148" name="Graphic 147" descr="Blog with solid fill">
            <a:extLst>
              <a:ext uri="{FF2B5EF4-FFF2-40B4-BE49-F238E27FC236}">
                <a16:creationId xmlns:a16="http://schemas.microsoft.com/office/drawing/2014/main" id="{B44A25D7-BA14-354D-80D6-B6937F4EA34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48992" y="5227615"/>
            <a:ext cx="338078" cy="338078"/>
          </a:xfrm>
          <a:prstGeom prst="rect">
            <a:avLst/>
          </a:prstGeom>
        </p:spPr>
      </p:pic>
      <p:pic>
        <p:nvPicPr>
          <p:cNvPr id="149" name="Graphic 148" descr="Blog with solid fill">
            <a:extLst>
              <a:ext uri="{FF2B5EF4-FFF2-40B4-BE49-F238E27FC236}">
                <a16:creationId xmlns:a16="http://schemas.microsoft.com/office/drawing/2014/main" id="{2F45C0B6-2C79-9240-83F8-01CB3BA612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40971" y="5939880"/>
            <a:ext cx="338078" cy="338078"/>
          </a:xfrm>
          <a:prstGeom prst="rect">
            <a:avLst/>
          </a:prstGeom>
        </p:spPr>
      </p:pic>
      <p:pic>
        <p:nvPicPr>
          <p:cNvPr id="150" name="Graphic 149" descr="Blog with solid fill">
            <a:extLst>
              <a:ext uri="{FF2B5EF4-FFF2-40B4-BE49-F238E27FC236}">
                <a16:creationId xmlns:a16="http://schemas.microsoft.com/office/drawing/2014/main" id="{4424E403-E0D2-2E45-8FCE-536696B3E3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53519" y="5209210"/>
            <a:ext cx="338078" cy="338078"/>
          </a:xfrm>
          <a:prstGeom prst="rect">
            <a:avLst/>
          </a:prstGeom>
        </p:spPr>
      </p:pic>
      <p:pic>
        <p:nvPicPr>
          <p:cNvPr id="151" name="Graphic 150" descr="Blog with solid fill">
            <a:extLst>
              <a:ext uri="{FF2B5EF4-FFF2-40B4-BE49-F238E27FC236}">
                <a16:creationId xmlns:a16="http://schemas.microsoft.com/office/drawing/2014/main" id="{B6093D77-453E-644D-88AA-DF9DBAAF3C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599860" y="5278755"/>
            <a:ext cx="338078" cy="338078"/>
          </a:xfrm>
          <a:prstGeom prst="rect">
            <a:avLst/>
          </a:prstGeom>
        </p:spPr>
      </p:pic>
      <p:pic>
        <p:nvPicPr>
          <p:cNvPr id="115" name="Graphic 114" descr="Blog with solid fill">
            <a:extLst>
              <a:ext uri="{FF2B5EF4-FFF2-40B4-BE49-F238E27FC236}">
                <a16:creationId xmlns:a16="http://schemas.microsoft.com/office/drawing/2014/main" id="{7F21DB2E-9B57-C44D-B553-FABD42808A9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02145" y="3634414"/>
            <a:ext cx="338078" cy="33807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7804-A542-4312-A1C4-5634B3EAC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/>
              <a:t>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DE1572-1F09-4B54-B7C5-1834F4D26C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9BF2A0-1F55-478D-9FB0-4039D28947A7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DC881D-730F-45F2-99DB-E14065E26258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AD0CC7-E6BD-4B90-8AE1-F616AAE223C7}"/>
              </a:ext>
            </a:extLst>
          </p:cNvPr>
          <p:cNvSpPr>
            <a:spLocks noGrp="1"/>
          </p:cNvSpPr>
          <p:nvPr>
            <p:ph type="body" idx="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Content Placeholder 3" descr="Screen Clipping">
            <a:extLst>
              <a:ext uri="{FF2B5EF4-FFF2-40B4-BE49-F238E27FC236}">
                <a16:creationId xmlns:a16="http://schemas.microsoft.com/office/drawing/2014/main" id="{7AB5000D-9D88-4136-84B1-03E2725AAAA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705" y="2505075"/>
            <a:ext cx="3982006" cy="3296110"/>
          </a:xfrm>
        </p:spPr>
      </p:pic>
    </p:spTree>
    <p:extLst>
      <p:ext uri="{BB962C8B-B14F-4D97-AF65-F5344CB8AC3E}">
        <p14:creationId xmlns:p14="http://schemas.microsoft.com/office/powerpoint/2010/main" val="391176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tnakIR4GTWGoClLRZ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tnakIR4GTWGoClLRZ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tnakIR4GTWGoClLRZ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atnakIR4GTWGoClLRZ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QQvkjBRyST7oZvyXDZ4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50SRjYQFC_IJvgQev1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VyGverSu6r5zFS32FCqg"/>
</p:tagLst>
</file>

<file path=ppt/theme/theme1.xml><?xml version="1.0" encoding="utf-8"?>
<a:theme xmlns:a="http://schemas.openxmlformats.org/drawingml/2006/main" name="1_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Custom 2">
      <a:dk1>
        <a:srgbClr val="1F5F96"/>
      </a:dk1>
      <a:lt1>
        <a:srgbClr val="FFFFFF"/>
      </a:lt1>
      <a:dk2>
        <a:srgbClr val="003C69"/>
      </a:dk2>
      <a:lt2>
        <a:srgbClr val="5BB4DD"/>
      </a:lt2>
      <a:accent1>
        <a:srgbClr val="3385BC"/>
      </a:accent1>
      <a:accent2>
        <a:srgbClr val="77C0E1"/>
      </a:accent2>
      <a:accent3>
        <a:srgbClr val="62B5E5"/>
      </a:accent3>
      <a:accent4>
        <a:srgbClr val="0097A9"/>
      </a:accent4>
      <a:accent5>
        <a:srgbClr val="9DC3E6"/>
      </a:accent5>
      <a:accent6>
        <a:srgbClr val="2C6EB1"/>
      </a:accent6>
      <a:hlink>
        <a:srgbClr val="D8D8D8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PP_Presentation template V0.4.potx" id="{90795C69-6628-4447-9FDB-D5357ED8D433}" vid="{25BF1217-E7E7-4FE1-B1C3-24F865BEDB71}"/>
    </a:ext>
  </a:extLst>
</a:theme>
</file>

<file path=ppt/theme/theme3.xml><?xml version="1.0" encoding="utf-8"?>
<a:theme xmlns:a="http://schemas.openxmlformats.org/drawingml/2006/main" name="1_Accenture aug2016">
  <a:themeElements>
    <a:clrScheme name="Custom 5">
      <a:dk1>
        <a:srgbClr val="1B2351"/>
      </a:dk1>
      <a:lt1>
        <a:srgbClr val="FFFFFF"/>
      </a:lt1>
      <a:dk2>
        <a:srgbClr val="DFDFDF"/>
      </a:dk2>
      <a:lt2>
        <a:srgbClr val="FFFFFF"/>
      </a:lt2>
      <a:accent1>
        <a:srgbClr val="2564B1"/>
      </a:accent1>
      <a:accent2>
        <a:srgbClr val="D8028A"/>
      </a:accent2>
      <a:accent3>
        <a:srgbClr val="C3D7F1"/>
      </a:accent3>
      <a:accent4>
        <a:srgbClr val="CDFBFE"/>
      </a:accent4>
      <a:accent5>
        <a:srgbClr val="5F5F5F"/>
      </a:accent5>
      <a:accent6>
        <a:srgbClr val="000000"/>
      </a:accent6>
      <a:hlink>
        <a:srgbClr val="5F5F5F"/>
      </a:hlink>
      <a:folHlink>
        <a:srgbClr val="919191"/>
      </a:folHlink>
    </a:clrScheme>
    <a:fontScheme name="Custom 1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  <a:effectLst/>
      </a:spPr>
      <a:bodyPr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72000" tIns="72000" rIns="72000" bIns="0" rtlCol="0">
        <a:noAutofit/>
      </a:bodyPr>
      <a:lstStyle>
        <a:defPPr algn="l">
          <a:defRPr sz="14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DPP_Presentation template">
  <a:themeElements>
    <a:clrScheme name="Custom 2">
      <a:dk1>
        <a:srgbClr val="1F5F96"/>
      </a:dk1>
      <a:lt1>
        <a:srgbClr val="FFFFFF"/>
      </a:lt1>
      <a:dk2>
        <a:srgbClr val="003C69"/>
      </a:dk2>
      <a:lt2>
        <a:srgbClr val="5BB4DD"/>
      </a:lt2>
      <a:accent1>
        <a:srgbClr val="3385BC"/>
      </a:accent1>
      <a:accent2>
        <a:srgbClr val="77C0E1"/>
      </a:accent2>
      <a:accent3>
        <a:srgbClr val="62B5E5"/>
      </a:accent3>
      <a:accent4>
        <a:srgbClr val="0097A9"/>
      </a:accent4>
      <a:accent5>
        <a:srgbClr val="9DC3E6"/>
      </a:accent5>
      <a:accent6>
        <a:srgbClr val="2C6EB1"/>
      </a:accent6>
      <a:hlink>
        <a:srgbClr val="D8D8D8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PP_Presentation template V0.3.potx" id="{9BE349F3-6259-44B7-BCBA-2422BE798B93}" vid="{688775C6-A89A-4354-830A-E4D6D4EAD09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8575D3149980A40BF5CCAB09F3ABAA0" ma:contentTypeVersion="10" ma:contentTypeDescription="Create a new document." ma:contentTypeScope="" ma:versionID="fb83ee93b802d3d9313b2201186394bc">
  <xsd:schema xmlns:xsd="http://www.w3.org/2001/XMLSchema" xmlns:xs="http://www.w3.org/2001/XMLSchema" xmlns:p="http://schemas.microsoft.com/office/2006/metadata/properties" xmlns:ns3="9431aab4-3d54-4790-8d9c-2f5f04b67b14" targetNamespace="http://schemas.microsoft.com/office/2006/metadata/properties" ma:root="true" ma:fieldsID="3dc74f47d1960f582d0eb21a1911ce95" ns3:_="">
    <xsd:import namespace="9431aab4-3d54-4790-8d9c-2f5f04b67b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31aab4-3d54-4790-8d9c-2f5f04b67b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E51C2A4-CAD6-47A7-8D3A-A5AF4E63B3F9}">
  <ds:schemaRefs>
    <ds:schemaRef ds:uri="9431aab4-3d54-4790-8d9c-2f5f04b67b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1668892F-1FAB-47B4-9BBB-5EE7A2455F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885240-BBAB-48D7-8F7C-397589AAD0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31aab4-3d54-4790-8d9c-2f5f04b67b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37</TotalTime>
  <Words>844</Words>
  <Application>Microsoft Office PowerPoint</Application>
  <PresentationFormat>Widescreen</PresentationFormat>
  <Paragraphs>124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Arial Black</vt:lpstr>
      <vt:lpstr>Arial Bold</vt:lpstr>
      <vt:lpstr>Calibri</vt:lpstr>
      <vt:lpstr>Calibri </vt:lpstr>
      <vt:lpstr>Calibri Light</vt:lpstr>
      <vt:lpstr>1_Office Theme</vt:lpstr>
      <vt:lpstr>4_Office Theme</vt:lpstr>
      <vt:lpstr>1_Accenture aug2016</vt:lpstr>
      <vt:lpstr>DPP_Presentation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uestions</vt:lpstr>
    </vt:vector>
  </TitlesOfParts>
  <Company>Sussex Pol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nsholt Lisa 38516</dc:creator>
  <cp:lastModifiedBy>Steven Cooper DCC</cp:lastModifiedBy>
  <cp:revision>89</cp:revision>
  <cp:lastPrinted>2019-10-02T11:30:56Z</cp:lastPrinted>
  <dcterms:created xsi:type="dcterms:W3CDTF">2019-04-25T11:33:19Z</dcterms:created>
  <dcterms:modified xsi:type="dcterms:W3CDTF">2022-11-03T16:0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575D3149980A40BF5CCAB09F3ABAA0</vt:lpwstr>
  </property>
  <property fmtid="{D5CDD505-2E9C-101B-9397-08002B2CF9AE}" pid="3" name="MSIP_Label_0c9a534a-49dd-43c4-b4e5-f206b4dbf0e4_Enabled">
    <vt:lpwstr>true</vt:lpwstr>
  </property>
  <property fmtid="{D5CDD505-2E9C-101B-9397-08002B2CF9AE}" pid="4" name="MSIP_Label_0c9a534a-49dd-43c4-b4e5-f206b4dbf0e4_SetDate">
    <vt:lpwstr>2022-03-04T14:42:32Z</vt:lpwstr>
  </property>
  <property fmtid="{D5CDD505-2E9C-101B-9397-08002B2CF9AE}" pid="5" name="MSIP_Label_0c9a534a-49dd-43c4-b4e5-f206b4dbf0e4_Method">
    <vt:lpwstr>Privileged</vt:lpwstr>
  </property>
  <property fmtid="{D5CDD505-2E9C-101B-9397-08002B2CF9AE}" pid="6" name="MSIP_Label_0c9a534a-49dd-43c4-b4e5-f206b4dbf0e4_Name">
    <vt:lpwstr>0c9a534a-49dd-43c4-b4e5-f206b4dbf0e4</vt:lpwstr>
  </property>
  <property fmtid="{D5CDD505-2E9C-101B-9397-08002B2CF9AE}" pid="7" name="MSIP_Label_0c9a534a-49dd-43c4-b4e5-f206b4dbf0e4_SiteId">
    <vt:lpwstr>50b6682b-e9dd-4d2c-b984-100e69b077a4</vt:lpwstr>
  </property>
  <property fmtid="{D5CDD505-2E9C-101B-9397-08002B2CF9AE}" pid="8" name="MSIP_Label_0c9a534a-49dd-43c4-b4e5-f206b4dbf0e4_ActionId">
    <vt:lpwstr>fc679c68-7d3f-4123-958e-a363e2475502</vt:lpwstr>
  </property>
  <property fmtid="{D5CDD505-2E9C-101B-9397-08002B2CF9AE}" pid="9" name="MSIP_Label_0c9a534a-49dd-43c4-b4e5-f206b4dbf0e4_ContentBits">
    <vt:lpwstr>0</vt:lpwstr>
  </property>
</Properties>
</file>